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7"/>
  </p:notesMasterIdLst>
  <p:sldIdLst>
    <p:sldId id="397" r:id="rId2"/>
    <p:sldId id="392" r:id="rId3"/>
    <p:sldId id="400" r:id="rId4"/>
    <p:sldId id="396" r:id="rId5"/>
    <p:sldId id="402" r:id="rId6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0" autoAdjust="0"/>
    <p:restoredTop sz="92808" autoAdjust="0"/>
  </p:normalViewPr>
  <p:slideViewPr>
    <p:cSldViewPr snapToGrid="0">
      <p:cViewPr varScale="1">
        <p:scale>
          <a:sx n="149" d="100"/>
          <a:sy n="149" d="100"/>
        </p:scale>
        <p:origin x="2076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2a94b2f9d3c19aa/&#48148;&#53461;%20&#54868;&#47732;/Springboard/Project/Southern%20Water%20Corp%20Financial%20Case%20Study_EBIT_Dongwoo%20Shin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2a94b2f9d3c19aa/&#48148;&#53461;%20&#54868;&#47732;/Springboard/Project/Southern%20Water%20Corp%20Financial%20Case%20Study_EBIT_Dongwoo%20Shin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2a94b2f9d3c19aa/&#48148;&#53461;%20&#54868;&#47732;/Springboard/Project/Southern%20Water%20Corp%20Financial%20Case%20Study_EBIT_Dongwoo%20Shin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2a94b2f9d3c19aa/&#48148;&#53461;%20&#54868;&#47732;/Springboard/Project/Southern%20Water%20Corp%20Financial%20Case%20Study_EBIT_Dongwoo%20Shin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2a94b2f9d3c19aa/&#48148;&#53461;%20&#54868;&#47732;/Springboard/Project/Southern%20Water%20Corp%20Financial%20Case%20Study_EBIT_Dongwoo%20Shin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2a94b2f9d3c19aa/&#48148;&#53461;%20&#54868;&#47732;/Springboard/Project/Southern%20Water%20Corp%20Financial%20Case%20Study_EBIT_Dongwoo%20Shin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2a94b2f9d3c19aa/&#48148;&#53461;%20&#54868;&#47732;/Springboard/Project/Southern%20Water%20Corp%20Financial%20Case%20Study_EBIT_Dongwoo%20Shin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2a94b2f9d3c19aa/&#48148;&#53461;%20&#54868;&#47732;/Springboard/Project/Southern%20Water%20Corp%20Financial%20Case%20Study_EBIT_Dongwoo%20Shin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2a94b2f9d3c19aa/&#48148;&#53461;%20&#54868;&#47732;/Springboard/Project/Southern%20Water%20Corp%20Financial%20Case%20Study_EBIT_Dongwoo%20Shin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2a94b2f9d3c19aa/&#48148;&#53461;%20&#54868;&#47732;/Springboard/Project/Southern%20Water%20Corp%20Financial%20Case%20Study_EBIT_Dongwoo%20Shin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2a94b2f9d3c19aa/&#48148;&#53461;%20&#54868;&#47732;/Springboard/Project/Southern%20Water%20Corp%20Financial%20Case%20Study_EBIT_Dongwoo%20Shin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2a94b2f9d3c19aa/&#48148;&#53461;%20&#54868;&#47732;/Springboard/Project/Southern%20Water%20Corp%20Financial%20Case%20Study_EBIT_Dongwoo%20Shin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les</a:t>
            </a:r>
            <a:r>
              <a:rPr lang="en-US" baseline="0"/>
              <a:t> Segment per 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Southern Water Corp Financial Case Study_EBIT_Dongwoo Shin.xlsx]Revenue Analysis'!$A$64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_EBIT_Dongwoo Shin.xlsx]Revenue Analysis'!$B$63:$D$63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Case Study_EBIT_Dongwoo Shin.xlsx]Revenue Analysis'!$B$64:$D$64</c:f>
              <c:numCache>
                <c:formatCode>0.0%</c:formatCode>
                <c:ptCount val="3"/>
                <c:pt idx="0">
                  <c:v>0.52320475368890496</c:v>
                </c:pt>
                <c:pt idx="1">
                  <c:v>0.25754754000336344</c:v>
                </c:pt>
                <c:pt idx="2">
                  <c:v>0.2192477063077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15-45AB-88AF-5FDD184D2CEA}"/>
            </c:ext>
          </c:extLst>
        </c:ser>
        <c:ser>
          <c:idx val="1"/>
          <c:order val="1"/>
          <c:tx>
            <c:strRef>
              <c:f>'[Southern Water Corp Financial Case Study_EBIT_Dongwoo Shin.xlsx]Revenue Analysis'!$A$65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_EBIT_Dongwoo Shin.xlsx]Revenue Analysis'!$B$63:$D$63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Case Study_EBIT_Dongwoo Shin.xlsx]Revenue Analysis'!$B$65:$D$65</c:f>
              <c:numCache>
                <c:formatCode>0.0%</c:formatCode>
                <c:ptCount val="3"/>
                <c:pt idx="0">
                  <c:v>0.40764341953130867</c:v>
                </c:pt>
                <c:pt idx="1">
                  <c:v>0.34887778413286691</c:v>
                </c:pt>
                <c:pt idx="2">
                  <c:v>0.24347879633582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15-45AB-88AF-5FDD184D2CEA}"/>
            </c:ext>
          </c:extLst>
        </c:ser>
        <c:ser>
          <c:idx val="2"/>
          <c:order val="2"/>
          <c:tx>
            <c:strRef>
              <c:f>'[Southern Water Corp Financial Case Study_EBIT_Dongwoo Shin.xlsx]Revenue Analysis'!$A$66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_EBIT_Dongwoo Shin.xlsx]Revenue Analysis'!$B$63:$D$63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Case Study_EBIT_Dongwoo Shin.xlsx]Revenue Analysis'!$B$66:$D$66</c:f>
              <c:numCache>
                <c:formatCode>0.0%</c:formatCode>
                <c:ptCount val="3"/>
                <c:pt idx="0">
                  <c:v>0.41462998885337127</c:v>
                </c:pt>
                <c:pt idx="1">
                  <c:v>0.35498085766522613</c:v>
                </c:pt>
                <c:pt idx="2">
                  <c:v>0.230389153481402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615-45AB-88AF-5FDD184D2CEA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602897343"/>
        <c:axId val="602900255"/>
      </c:barChart>
      <c:catAx>
        <c:axId val="6028973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2900255"/>
        <c:crosses val="autoZero"/>
        <c:auto val="1"/>
        <c:lblAlgn val="ctr"/>
        <c:lblOffset val="100"/>
        <c:noMultiLvlLbl val="0"/>
      </c:catAx>
      <c:valAx>
        <c:axId val="602900255"/>
        <c:scaling>
          <c:orientation val="minMax"/>
          <c:max val="1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28973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outhern Water Corp Financial Case Study_EBIT_Dongwoo Shin.xlsx]Scratch Paper_EBIT!PivotTable121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700" b="1" dirty="0"/>
              <a:t>Total EBIT</a:t>
            </a:r>
            <a:r>
              <a:rPr lang="en-US" sz="700" b="1" baseline="0" dirty="0"/>
              <a:t> Margin by Units (12-months Period)</a:t>
            </a:r>
            <a:endParaRPr lang="en-US" sz="7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0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</c:pivotFmt>
      <c:pivotFmt>
        <c:idx val="5"/>
        <c:spPr>
          <a:solidFill>
            <a:schemeClr val="accent2"/>
          </a:solidFill>
          <a:ln>
            <a:noFill/>
          </a:ln>
          <a:effectLst/>
        </c:spP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0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</c:pivotFmt>
      <c:pivotFmt>
        <c:idx val="8"/>
        <c:spPr>
          <a:solidFill>
            <a:schemeClr val="accent2"/>
          </a:solidFill>
          <a:ln>
            <a:noFill/>
          </a:ln>
          <a:effectLst/>
        </c:spPr>
      </c:pivotFmt>
      <c:pivotFmt>
        <c:idx val="9"/>
        <c:spPr>
          <a:solidFill>
            <a:schemeClr val="accent3"/>
          </a:solidFill>
          <a:ln>
            <a:noFill/>
          </a:ln>
          <a:effectLst/>
        </c:spP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0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</c:pivotFmt>
      <c:pivotFmt>
        <c:idx val="12"/>
        <c:spPr>
          <a:solidFill>
            <a:schemeClr val="accent2"/>
          </a:solidFill>
          <a:ln>
            <a:noFill/>
          </a:ln>
          <a:effectLst/>
        </c:spPr>
      </c:pivotFmt>
      <c:pivotFmt>
        <c:idx val="13"/>
        <c:spPr>
          <a:solidFill>
            <a:schemeClr val="accent3"/>
          </a:solidFill>
          <a:ln>
            <a:noFill/>
          </a:ln>
          <a:effectLst/>
        </c:spPr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0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</c:pivotFmt>
      <c:pivotFmt>
        <c:idx val="16"/>
        <c:spPr>
          <a:solidFill>
            <a:schemeClr val="accent2"/>
          </a:solidFill>
          <a:ln>
            <a:noFill/>
          </a:ln>
          <a:effectLst/>
        </c:spPr>
      </c:pivotFmt>
      <c:pivotFmt>
        <c:idx val="17"/>
        <c:spPr>
          <a:solidFill>
            <a:schemeClr val="accent3"/>
          </a:solidFill>
          <a:ln>
            <a:noFill/>
          </a:ln>
          <a:effectLst/>
        </c:spPr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0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</c:pivotFmt>
      <c:pivotFmt>
        <c:idx val="20"/>
        <c:spPr>
          <a:solidFill>
            <a:schemeClr val="accent2"/>
          </a:solidFill>
          <a:ln>
            <a:noFill/>
          </a:ln>
          <a:effectLst/>
        </c:spPr>
      </c:pivotFmt>
      <c:pivotFmt>
        <c:idx val="21"/>
        <c:spPr>
          <a:solidFill>
            <a:schemeClr val="accent3"/>
          </a:solidFill>
          <a:ln>
            <a:noFill/>
          </a:ln>
          <a:effectLst/>
        </c:spPr>
      </c:pivotFmt>
    </c:pivotFmts>
    <c:plotArea>
      <c:layout/>
      <c:pieChart>
        <c:varyColors val="1"/>
        <c:ser>
          <c:idx val="0"/>
          <c:order val="0"/>
          <c:tx>
            <c:strRef>
              <c:f>'Scratch Paper_EBIT'!$AO$190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157-4EC8-8CED-A80B4BEB899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157-4EC8-8CED-A80B4BEB899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157-4EC8-8CED-A80B4BEB8997}"/>
              </c:ext>
            </c:extLst>
          </c:dPt>
          <c:dLbls>
            <c:dLbl>
              <c:idx val="2"/>
              <c:layout>
                <c:manualLayout>
                  <c:x val="7.5303851188905258E-2"/>
                  <c:y val="0.1312707717355308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157-4EC8-8CED-A80B4BEB8997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Scratch Paper_EBIT'!$AN$191:$AN$194</c:f>
              <c:strCache>
                <c:ptCount val="3"/>
                <c:pt idx="0">
                  <c:v>Jutik</c:v>
                </c:pt>
                <c:pt idx="1">
                  <c:v>Kootha</c:v>
                </c:pt>
                <c:pt idx="2">
                  <c:v>Surjek</c:v>
                </c:pt>
              </c:strCache>
            </c:strRef>
          </c:cat>
          <c:val>
            <c:numRef>
              <c:f>'Scratch Paper_EBIT'!$AO$191:$AO$194</c:f>
              <c:numCache>
                <c:formatCode>General</c:formatCode>
                <c:ptCount val="3"/>
                <c:pt idx="0">
                  <c:v>0.44567644671722018</c:v>
                </c:pt>
                <c:pt idx="1">
                  <c:v>0.27797794172946699</c:v>
                </c:pt>
                <c:pt idx="2">
                  <c:v>0.11340244014940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157-4EC8-8CED-A80B4BEB89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3019894080744632"/>
          <c:y val="0.38711842895925386"/>
          <c:w val="0.10943044822996563"/>
          <c:h val="0.399119078718517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outhern Water Corp Financial Case Study_EBIT_Dongwoo Shin.xlsx]Scratch Paper_EBIT!PivotTable114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/>
              <a:t>Monthly total EBIT</a:t>
            </a:r>
            <a:r>
              <a:rPr lang="en-US" sz="1600" b="1" baseline="0"/>
              <a:t> of all units</a:t>
            </a:r>
            <a:endParaRPr lang="en-US" sz="16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_(&quot;$&quot;* #,##0.00_);_(&quot;$&quot;* \(#,##0.00\);_(&quot;$&quot;* &quot;-&quot;??_);_(@_)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dLbl>
          <c:idx val="0"/>
          <c:layout>
            <c:manualLayout>
              <c:x val="0"/>
              <c:y val="-1.2574528213850265E-2"/>
            </c:manualLayout>
          </c:layout>
          <c:numFmt formatCode="_(&quot;$&quot;* #,##0.00_);_(&quot;$&quot;* \(#,##0.00\);_(&quot;$&quot;* &quot;-&quot;??_);_(@_)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dLbl>
          <c:idx val="0"/>
          <c:layout>
            <c:manualLayout>
              <c:x val="0"/>
              <c:y val="-4.7154480801938063E-2"/>
            </c:manualLayout>
          </c:layout>
          <c:numFmt formatCode="_(&quot;$&quot;* #,##0.00_);_(&quot;$&quot;* \(#,##0.00\);_(&quot;$&quot;* &quot;-&quot;??_);_(@_)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dLbl>
          <c:idx val="0"/>
          <c:layout>
            <c:manualLayout>
              <c:x val="-5.6751465669906366E-3"/>
              <c:y val="-5.7632588536899089E-17"/>
            </c:manualLayout>
          </c:layout>
          <c:numFmt formatCode="_(&quot;$&quot;* #,##0.00_);_(&quot;$&quot;* \(#,##0.00\);_(&quot;$&quot;* &quot;-&quot;??_);_(@_)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dLbl>
          <c:idx val="0"/>
          <c:layout>
            <c:manualLayout>
              <c:x val="0"/>
              <c:y val="-3.1436320534625431E-2"/>
            </c:manualLayout>
          </c:layout>
          <c:numFmt formatCode="_(&quot;$&quot;* #,##0.00_);_(&quot;$&quot;* \(#,##0.00\);_(&quot;$&quot;* &quot;-&quot;??_);_(@_)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_(&quot;$&quot;* #,##0.00_);_(&quot;$&quot;* \(#,##0.00\);_(&quot;$&quot;* &quot;-&quot;??_);_(@_)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dLbl>
          <c:idx val="0"/>
          <c:layout>
            <c:manualLayout>
              <c:x val="0"/>
              <c:y val="-4.7154480801938063E-2"/>
            </c:manualLayout>
          </c:layout>
          <c:numFmt formatCode="_(&quot;$&quot;* #,##0.00_);_(&quot;$&quot;* \(#,##0.00\);_(&quot;$&quot;* &quot;-&quot;??_);_(@_)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dLbl>
          <c:idx val="0"/>
          <c:layout>
            <c:manualLayout>
              <c:x val="0"/>
              <c:y val="-1.2574528213850265E-2"/>
            </c:manualLayout>
          </c:layout>
          <c:numFmt formatCode="_(&quot;$&quot;* #,##0.00_);_(&quot;$&quot;* \(#,##0.00\);_(&quot;$&quot;* &quot;-&quot;??_);_(@_)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dLbl>
          <c:idx val="0"/>
          <c:layout>
            <c:manualLayout>
              <c:x val="0"/>
              <c:y val="-3.1436320534625431E-2"/>
            </c:manualLayout>
          </c:layout>
          <c:numFmt formatCode="_(&quot;$&quot;* #,##0.00_);_(&quot;$&quot;* \(#,##0.00\);_(&quot;$&quot;* &quot;-&quot;??_);_(@_)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dLbl>
          <c:idx val="0"/>
          <c:layout>
            <c:manualLayout>
              <c:x val="-5.6751465669906366E-3"/>
              <c:y val="-5.7632588536899089E-17"/>
            </c:manualLayout>
          </c:layout>
          <c:numFmt formatCode="_(&quot;$&quot;* #,##0.00_);_(&quot;$&quot;* \(#,##0.00\);_(&quot;$&quot;* &quot;-&quot;??_);_(@_)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_(&quot;$&quot;* #,##0.00_);_(&quot;$&quot;* \(#,##0.00\);_(&quot;$&quot;* &quot;-&quot;??_);_(@_)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dLbl>
          <c:idx val="0"/>
          <c:layout>
            <c:manualLayout>
              <c:x val="0"/>
              <c:y val="-4.7154480801938063E-2"/>
            </c:manualLayout>
          </c:layout>
          <c:numFmt formatCode="_(&quot;$&quot;* #,##0.00_);_(&quot;$&quot;* \(#,##0.00\);_(&quot;$&quot;* &quot;-&quot;??_);_(@_)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  <c:dLbl>
          <c:idx val="0"/>
          <c:layout>
            <c:manualLayout>
              <c:x val="0"/>
              <c:y val="-1.2574528213850265E-2"/>
            </c:manualLayout>
          </c:layout>
          <c:numFmt formatCode="_(&quot;$&quot;* #,##0.00_);_(&quot;$&quot;* \(#,##0.00\);_(&quot;$&quot;* &quot;-&quot;??_);_(@_)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chemeClr val="accent1"/>
          </a:solidFill>
          <a:ln>
            <a:noFill/>
          </a:ln>
          <a:effectLst/>
        </c:spPr>
        <c:dLbl>
          <c:idx val="0"/>
          <c:layout>
            <c:manualLayout>
              <c:x val="0"/>
              <c:y val="-3.1436320534625431E-2"/>
            </c:manualLayout>
          </c:layout>
          <c:numFmt formatCode="_(&quot;$&quot;* #,##0.00_);_(&quot;$&quot;* \(#,##0.00\);_(&quot;$&quot;* &quot;-&quot;??_);_(@_)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1"/>
          </a:solidFill>
          <a:ln>
            <a:noFill/>
          </a:ln>
          <a:effectLst/>
        </c:spPr>
        <c:dLbl>
          <c:idx val="0"/>
          <c:layout>
            <c:manualLayout>
              <c:x val="-5.6751465669906366E-3"/>
              <c:y val="-5.7632588536899089E-17"/>
            </c:manualLayout>
          </c:layout>
          <c:numFmt formatCode="_(&quot;$&quot;* #,##0.00_);_(&quot;$&quot;* \(#,##0.00\);_(&quot;$&quot;* &quot;-&quot;??_);_(@_)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cratch Paper_EBIT'!$AI$40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4BF-47C4-B577-6579B21C620B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4BF-47C4-B577-6579B21C620B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24BF-47C4-B577-6579B21C620B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4BF-47C4-B577-6579B21C620B}"/>
              </c:ext>
            </c:extLst>
          </c:dPt>
          <c:dLbls>
            <c:dLbl>
              <c:idx val="1"/>
              <c:layout>
                <c:manualLayout>
                  <c:x val="0"/>
                  <c:y val="-4.71544808019380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4BF-47C4-B577-6579B21C620B}"/>
                </c:ext>
              </c:extLst>
            </c:dLbl>
            <c:dLbl>
              <c:idx val="2"/>
              <c:layout>
                <c:manualLayout>
                  <c:x val="0"/>
                  <c:y val="-1.25745282138502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4BF-47C4-B577-6579B21C620B}"/>
                </c:ext>
              </c:extLst>
            </c:dLbl>
            <c:dLbl>
              <c:idx val="8"/>
              <c:layout>
                <c:manualLayout>
                  <c:x val="0"/>
                  <c:y val="-8.65782660528493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4BF-47C4-B577-6579B21C620B}"/>
                </c:ext>
              </c:extLst>
            </c:dLbl>
            <c:dLbl>
              <c:idx val="11"/>
              <c:layout>
                <c:manualLayout>
                  <c:x val="-5.6751465669906366E-3"/>
                  <c:y val="-5.7632588536899089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4BF-47C4-B577-6579B21C620B}"/>
                </c:ext>
              </c:extLst>
            </c:dLbl>
            <c:numFmt formatCode="_(&quot;$&quot;* #,##0.00_);_(&quot;$&quot;* \(#,##0.00\);_(&quot;$&quot;* &quot;-&quot;??_);_(@_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cratch Paper_EBIT'!$AH$41:$AH$53</c:f>
              <c:strCache>
                <c:ptCount val="12"/>
                <c:pt idx="0">
                  <c:v>2013-7</c:v>
                </c:pt>
                <c:pt idx="1">
                  <c:v>2013-8</c:v>
                </c:pt>
                <c:pt idx="2">
                  <c:v>2013-9</c:v>
                </c:pt>
                <c:pt idx="3">
                  <c:v>2013-10</c:v>
                </c:pt>
                <c:pt idx="4">
                  <c:v>2013-11</c:v>
                </c:pt>
                <c:pt idx="5">
                  <c:v>2013-12</c:v>
                </c:pt>
                <c:pt idx="6">
                  <c:v>2014-1</c:v>
                </c:pt>
                <c:pt idx="7">
                  <c:v>2014-2</c:v>
                </c:pt>
                <c:pt idx="8">
                  <c:v>2014-3</c:v>
                </c:pt>
                <c:pt idx="9">
                  <c:v>2014-4</c:v>
                </c:pt>
                <c:pt idx="10">
                  <c:v>2014-5</c:v>
                </c:pt>
                <c:pt idx="11">
                  <c:v>2014-6</c:v>
                </c:pt>
              </c:strCache>
            </c:strRef>
          </c:cat>
          <c:val>
            <c:numRef>
              <c:f>'Scratch Paper_EBIT'!$AI$41:$AI$53</c:f>
              <c:numCache>
                <c:formatCode>General</c:formatCode>
                <c:ptCount val="12"/>
                <c:pt idx="0">
                  <c:v>12992640.342857577</c:v>
                </c:pt>
                <c:pt idx="1">
                  <c:v>8403972.5975230224</c:v>
                </c:pt>
                <c:pt idx="2">
                  <c:v>8286804.1046133824</c:v>
                </c:pt>
                <c:pt idx="3">
                  <c:v>2726796.1895651072</c:v>
                </c:pt>
                <c:pt idx="4">
                  <c:v>1264266.0284324382</c:v>
                </c:pt>
                <c:pt idx="5">
                  <c:v>9742266.1649520472</c:v>
                </c:pt>
                <c:pt idx="6">
                  <c:v>19231782.256624728</c:v>
                </c:pt>
                <c:pt idx="7">
                  <c:v>12912123.801095471</c:v>
                </c:pt>
                <c:pt idx="8">
                  <c:v>12980067.141053909</c:v>
                </c:pt>
                <c:pt idx="9">
                  <c:v>11324952.253075752</c:v>
                </c:pt>
                <c:pt idx="10">
                  <c:v>2583917.3669133382</c:v>
                </c:pt>
                <c:pt idx="11">
                  <c:v>13149531.185347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4BF-47C4-B577-6579B21C62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104452943"/>
        <c:axId val="2104453775"/>
      </c:barChart>
      <c:catAx>
        <c:axId val="21044529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4453775"/>
        <c:crosses val="autoZero"/>
        <c:auto val="1"/>
        <c:lblAlgn val="ctr"/>
        <c:lblOffset val="100"/>
        <c:noMultiLvlLbl val="0"/>
      </c:catAx>
      <c:valAx>
        <c:axId val="21044537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44529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outhern Water Corp Financial Case Study_EBIT_Dongwoo Shin.xlsx]Scratch Paper_EBIT!PivotTable113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EBIT</a:t>
            </a:r>
            <a:r>
              <a:rPr lang="en-US" b="1" baseline="0"/>
              <a:t> per unit</a:t>
            </a:r>
          </a:p>
        </c:rich>
      </c:tx>
      <c:layout>
        <c:manualLayout>
          <c:xMode val="edge"/>
          <c:yMode val="edge"/>
          <c:x val="0.4462071278437636"/>
          <c:y val="3.4967151566638224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cratch Paper_EBIT'!$AI$2:$AI$3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Scratch Paper_EBIT'!$AH$4:$AH$16</c:f>
              <c:strCache>
                <c:ptCount val="12"/>
                <c:pt idx="0">
                  <c:v>2013-7</c:v>
                </c:pt>
                <c:pt idx="1">
                  <c:v>2013-8</c:v>
                </c:pt>
                <c:pt idx="2">
                  <c:v>2013-9</c:v>
                </c:pt>
                <c:pt idx="3">
                  <c:v>2013-10</c:v>
                </c:pt>
                <c:pt idx="4">
                  <c:v>2013-11</c:v>
                </c:pt>
                <c:pt idx="5">
                  <c:v>2013-12</c:v>
                </c:pt>
                <c:pt idx="6">
                  <c:v>2014-1</c:v>
                </c:pt>
                <c:pt idx="7">
                  <c:v>2014-2</c:v>
                </c:pt>
                <c:pt idx="8">
                  <c:v>2014-3</c:v>
                </c:pt>
                <c:pt idx="9">
                  <c:v>2014-4</c:v>
                </c:pt>
                <c:pt idx="10">
                  <c:v>2014-5</c:v>
                </c:pt>
                <c:pt idx="11">
                  <c:v>2014-6</c:v>
                </c:pt>
              </c:strCache>
            </c:strRef>
          </c:cat>
          <c:val>
            <c:numRef>
              <c:f>'Scratch Paper_EBIT'!$AI$4:$AI$16</c:f>
              <c:numCache>
                <c:formatCode>General</c:formatCode>
                <c:ptCount val="12"/>
                <c:pt idx="0">
                  <c:v>4547848.2127075791</c:v>
                </c:pt>
                <c:pt idx="1">
                  <c:v>6542227.6080423184</c:v>
                </c:pt>
                <c:pt idx="2">
                  <c:v>4438176.8988530822</c:v>
                </c:pt>
                <c:pt idx="3">
                  <c:v>4415960.6020003613</c:v>
                </c:pt>
                <c:pt idx="4">
                  <c:v>5589126.5717249103</c:v>
                </c:pt>
                <c:pt idx="5">
                  <c:v>5264580.3424524982</c:v>
                </c:pt>
                <c:pt idx="6">
                  <c:v>8292411.5891714981</c:v>
                </c:pt>
                <c:pt idx="7">
                  <c:v>8295134.2778322501</c:v>
                </c:pt>
                <c:pt idx="8">
                  <c:v>5460903.0204648729</c:v>
                </c:pt>
                <c:pt idx="9">
                  <c:v>8279084.1609189995</c:v>
                </c:pt>
                <c:pt idx="10">
                  <c:v>6175874.2250345023</c:v>
                </c:pt>
                <c:pt idx="11">
                  <c:v>5640408.5879914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61-4DDA-9C5A-6500D57ADF33}"/>
            </c:ext>
          </c:extLst>
        </c:ser>
        <c:ser>
          <c:idx val="1"/>
          <c:order val="1"/>
          <c:tx>
            <c:strRef>
              <c:f>'Scratch Paper_EBIT'!$AJ$2:$AJ$3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Scratch Paper_EBIT'!$AH$4:$AH$16</c:f>
              <c:strCache>
                <c:ptCount val="12"/>
                <c:pt idx="0">
                  <c:v>2013-7</c:v>
                </c:pt>
                <c:pt idx="1">
                  <c:v>2013-8</c:v>
                </c:pt>
                <c:pt idx="2">
                  <c:v>2013-9</c:v>
                </c:pt>
                <c:pt idx="3">
                  <c:v>2013-10</c:v>
                </c:pt>
                <c:pt idx="4">
                  <c:v>2013-11</c:v>
                </c:pt>
                <c:pt idx="5">
                  <c:v>2013-12</c:v>
                </c:pt>
                <c:pt idx="6">
                  <c:v>2014-1</c:v>
                </c:pt>
                <c:pt idx="7">
                  <c:v>2014-2</c:v>
                </c:pt>
                <c:pt idx="8">
                  <c:v>2014-3</c:v>
                </c:pt>
                <c:pt idx="9">
                  <c:v>2014-4</c:v>
                </c:pt>
                <c:pt idx="10">
                  <c:v>2014-5</c:v>
                </c:pt>
                <c:pt idx="11">
                  <c:v>2014-6</c:v>
                </c:pt>
              </c:strCache>
            </c:strRef>
          </c:cat>
          <c:val>
            <c:numRef>
              <c:f>'Scratch Paper_EBIT'!$AJ$4:$AJ$16</c:f>
              <c:numCache>
                <c:formatCode>General</c:formatCode>
                <c:ptCount val="12"/>
                <c:pt idx="0">
                  <c:v>2456292.3275362095</c:v>
                </c:pt>
                <c:pt idx="1">
                  <c:v>918310.88787430618</c:v>
                </c:pt>
                <c:pt idx="2">
                  <c:v>1519674.7670411351</c:v>
                </c:pt>
                <c:pt idx="3">
                  <c:v>1671126.6978958249</c:v>
                </c:pt>
                <c:pt idx="4">
                  <c:v>1867603.7439484247</c:v>
                </c:pt>
                <c:pt idx="5">
                  <c:v>1873668.8420387567</c:v>
                </c:pt>
                <c:pt idx="6">
                  <c:v>2572779.3705296321</c:v>
                </c:pt>
                <c:pt idx="7">
                  <c:v>2504531.9499788256</c:v>
                </c:pt>
                <c:pt idx="8">
                  <c:v>2888063.9198026378</c:v>
                </c:pt>
                <c:pt idx="9">
                  <c:v>912936.10019635595</c:v>
                </c:pt>
                <c:pt idx="10">
                  <c:v>702117.95209483802</c:v>
                </c:pt>
                <c:pt idx="11">
                  <c:v>-165973.353111461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61-4DDA-9C5A-6500D57ADF33}"/>
            </c:ext>
          </c:extLst>
        </c:ser>
        <c:ser>
          <c:idx val="2"/>
          <c:order val="2"/>
          <c:tx>
            <c:strRef>
              <c:f>'Scratch Paper_EBIT'!$AK$2:$AK$3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Scratch Paper_EBIT'!$AH$4:$AH$16</c:f>
              <c:strCache>
                <c:ptCount val="12"/>
                <c:pt idx="0">
                  <c:v>2013-7</c:v>
                </c:pt>
                <c:pt idx="1">
                  <c:v>2013-8</c:v>
                </c:pt>
                <c:pt idx="2">
                  <c:v>2013-9</c:v>
                </c:pt>
                <c:pt idx="3">
                  <c:v>2013-10</c:v>
                </c:pt>
                <c:pt idx="4">
                  <c:v>2013-11</c:v>
                </c:pt>
                <c:pt idx="5">
                  <c:v>2013-12</c:v>
                </c:pt>
                <c:pt idx="6">
                  <c:v>2014-1</c:v>
                </c:pt>
                <c:pt idx="7">
                  <c:v>2014-2</c:v>
                </c:pt>
                <c:pt idx="8">
                  <c:v>2014-3</c:v>
                </c:pt>
                <c:pt idx="9">
                  <c:v>2014-4</c:v>
                </c:pt>
                <c:pt idx="10">
                  <c:v>2014-5</c:v>
                </c:pt>
                <c:pt idx="11">
                  <c:v>2014-6</c:v>
                </c:pt>
              </c:strCache>
            </c:strRef>
          </c:cat>
          <c:val>
            <c:numRef>
              <c:f>'Scratch Paper_EBIT'!$AK$4:$AK$16</c:f>
              <c:numCache>
                <c:formatCode>General</c:formatCode>
                <c:ptCount val="12"/>
                <c:pt idx="0">
                  <c:v>5988499.8026137874</c:v>
                </c:pt>
                <c:pt idx="1">
                  <c:v>943434.10160639696</c:v>
                </c:pt>
                <c:pt idx="2">
                  <c:v>2328952.4387191646</c:v>
                </c:pt>
                <c:pt idx="3">
                  <c:v>-3360291.110331079</c:v>
                </c:pt>
                <c:pt idx="4">
                  <c:v>-6192464.2872408964</c:v>
                </c:pt>
                <c:pt idx="5">
                  <c:v>2604016.9804607928</c:v>
                </c:pt>
                <c:pt idx="6">
                  <c:v>8366591.2969236001</c:v>
                </c:pt>
                <c:pt idx="7">
                  <c:v>2112457.573284395</c:v>
                </c:pt>
                <c:pt idx="8">
                  <c:v>4631100.2007863987</c:v>
                </c:pt>
                <c:pt idx="9">
                  <c:v>2132931.991960397</c:v>
                </c:pt>
                <c:pt idx="10">
                  <c:v>-4294074.8102160022</c:v>
                </c:pt>
                <c:pt idx="11">
                  <c:v>7675095.9504671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261-4DDA-9C5A-6500D57ADF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33380079"/>
        <c:axId val="533396719"/>
      </c:barChart>
      <c:catAx>
        <c:axId val="5333800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3396719"/>
        <c:crosses val="autoZero"/>
        <c:auto val="1"/>
        <c:lblAlgn val="ctr"/>
        <c:lblOffset val="100"/>
        <c:noMultiLvlLbl val="0"/>
      </c:catAx>
      <c:valAx>
        <c:axId val="533396719"/>
        <c:scaling>
          <c:orientation val="minMax"/>
          <c:max val="10000000"/>
          <c:min val="-65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.00_);_(&quot;$&quot;* \(#,##0.00\);_(&quot;$&quot;* &quot;-&quot;??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33800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outhern Water Corp Financial Case Study_EBIT_Dongwoo Shin.xlsx]Scratch Paper_Expense!PivotTable55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/>
              <a:t>Total</a:t>
            </a:r>
            <a:r>
              <a:rPr lang="en-US" sz="1600" b="1" baseline="0"/>
              <a:t> Expenses of each Cost Element by Units</a:t>
            </a:r>
            <a:endParaRPr lang="en-US" sz="1600" b="1"/>
          </a:p>
        </c:rich>
      </c:tx>
      <c:layout>
        <c:manualLayout>
          <c:xMode val="edge"/>
          <c:yMode val="edge"/>
          <c:x val="0.14688285131101422"/>
          <c:y val="1.705782895026971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"/>
        <c:spPr>
          <a:solidFill>
            <a:schemeClr val="accent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"/>
        <c:spPr>
          <a:solidFill>
            <a:schemeClr val="accent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"/>
        <c:spPr>
          <a:solidFill>
            <a:schemeClr val="accent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"/>
        <c:spPr>
          <a:solidFill>
            <a:schemeClr val="accent3"/>
          </a:solidFill>
          <a:ln>
            <a:noFill/>
          </a:ln>
          <a:effectLst/>
        </c:spPr>
        <c:dLbl>
          <c:idx val="0"/>
          <c:layout>
            <c:manualLayout>
              <c:x val="-1.4421334550677514E-16"/>
              <c:y val="-2.8368794326241134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"/>
        <c:spPr>
          <a:solidFill>
            <a:schemeClr val="accent3"/>
          </a:solidFill>
          <a:ln>
            <a:noFill/>
          </a:ln>
          <a:effectLst/>
        </c:spPr>
        <c:dLbl>
          <c:idx val="0"/>
          <c:layout>
            <c:manualLayout>
              <c:x val="2.9498525073744872E-3"/>
              <c:y val="-1.5760441292356184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"/>
        <c:spPr>
          <a:solidFill>
            <a:schemeClr val="accent2"/>
          </a:solidFill>
          <a:ln>
            <a:noFill/>
          </a:ln>
          <a:effectLst/>
        </c:spPr>
        <c:dLbl>
          <c:idx val="0"/>
          <c:layout>
            <c:manualLayout>
              <c:x val="9.8328416912473295E-4"/>
              <c:y val="6.3041765169424748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"/>
        <c:spPr>
          <a:solidFill>
            <a:schemeClr val="accent2"/>
          </a:solidFill>
          <a:ln>
            <a:noFill/>
          </a:ln>
          <a:effectLst/>
        </c:spPr>
        <c:dLbl>
          <c:idx val="0"/>
          <c:layout>
            <c:manualLayout>
              <c:x val="9.8328416912473295E-4"/>
              <c:y val="6.3041765169424748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"/>
        <c:spPr>
          <a:solidFill>
            <a:schemeClr val="accent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"/>
        <c:spPr>
          <a:solidFill>
            <a:schemeClr val="accent3"/>
          </a:solidFill>
          <a:ln>
            <a:noFill/>
          </a:ln>
          <a:effectLst/>
        </c:spPr>
        <c:dLbl>
          <c:idx val="0"/>
          <c:layout>
            <c:manualLayout>
              <c:x val="-1.4421334550677514E-16"/>
              <c:y val="-2.8368794326241134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"/>
        <c:spPr>
          <a:solidFill>
            <a:schemeClr val="accent3"/>
          </a:solidFill>
          <a:ln>
            <a:noFill/>
          </a:ln>
          <a:effectLst/>
        </c:spPr>
        <c:dLbl>
          <c:idx val="0"/>
          <c:layout>
            <c:manualLayout>
              <c:x val="2.9498525073744872E-3"/>
              <c:y val="-1.5760441292356184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2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3"/>
        <c:spPr>
          <a:solidFill>
            <a:schemeClr val="accent2"/>
          </a:solidFill>
          <a:ln>
            <a:noFill/>
          </a:ln>
          <a:effectLst/>
        </c:spPr>
        <c:dLbl>
          <c:idx val="0"/>
          <c:layout>
            <c:manualLayout>
              <c:x val="9.8328416912473295E-4"/>
              <c:y val="6.3041765169424748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4"/>
        <c:spPr>
          <a:solidFill>
            <a:schemeClr val="accent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5"/>
        <c:spPr>
          <a:solidFill>
            <a:schemeClr val="accent3"/>
          </a:solidFill>
          <a:ln>
            <a:noFill/>
          </a:ln>
          <a:effectLst/>
        </c:spPr>
        <c:dLbl>
          <c:idx val="0"/>
          <c:layout>
            <c:manualLayout>
              <c:x val="-1.4421334550677514E-16"/>
              <c:y val="-2.8368794326241134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6"/>
        <c:spPr>
          <a:solidFill>
            <a:schemeClr val="accent3"/>
          </a:solidFill>
          <a:ln>
            <a:noFill/>
          </a:ln>
          <a:effectLst/>
        </c:spPr>
        <c:dLbl>
          <c:idx val="0"/>
          <c:layout>
            <c:manualLayout>
              <c:x val="2.9498525073744872E-3"/>
              <c:y val="-1.5760441292356184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7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cratch Paper_Expense'!$J$3:$J$4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42</a:t>
                    </a:r>
                    <a:r>
                      <a:rPr lang="en-US" baseline="0"/>
                      <a:t>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6375-4BAF-A516-947D9A543CB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6</a:t>
                    </a:r>
                    <a:r>
                      <a:rPr lang="en-US" baseline="0"/>
                      <a:t> M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6375-4BAF-A516-947D9A543CBF}"/>
                </c:ext>
              </c:extLst>
            </c:dLbl>
            <c:dLbl>
              <c:idx val="2"/>
              <c:layout>
                <c:manualLayout>
                  <c:x val="7.8023423000199259E-3"/>
                  <c:y val="4.6851072981797803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3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6375-4BAF-A516-947D9A543CB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9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6375-4BAF-A516-947D9A543CB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18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2-6375-4BAF-A516-947D9A543CB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12</a:t>
                    </a:r>
                    <a:r>
                      <a:rPr lang="en-US" baseline="0"/>
                      <a:t>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5-6375-4BAF-A516-947D9A543CB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11</a:t>
                    </a:r>
                    <a:r>
                      <a:rPr lang="en-US" baseline="0"/>
                      <a:t> M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8-6375-4BAF-A516-947D9A543CB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6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A-6375-4BAF-A516-947D9A543CB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cratch Paper_Expense'!$I$5:$I$13</c:f>
              <c:strCache>
                <c:ptCount val="8"/>
                <c:pt idx="0">
                  <c:v>Labour-Costs (001)</c:v>
                </c:pt>
                <c:pt idx="1">
                  <c:v>Chem-Exp (001)</c:v>
                </c:pt>
                <c:pt idx="2">
                  <c:v>Utility-Exp (002) - Heating</c:v>
                </c:pt>
                <c:pt idx="3">
                  <c:v>Utility-Exp (002) - Electricity</c:v>
                </c:pt>
                <c:pt idx="4">
                  <c:v>Plant Maintenance (001)</c:v>
                </c:pt>
                <c:pt idx="5">
                  <c:v>Plant Op. Costs (003)</c:v>
                </c:pt>
                <c:pt idx="6">
                  <c:v>Plant Outages (002)</c:v>
                </c:pt>
                <c:pt idx="7">
                  <c:v>Plant Admin Costs (004)</c:v>
                </c:pt>
              </c:strCache>
            </c:strRef>
          </c:cat>
          <c:val>
            <c:numRef>
              <c:f>'Scratch Paper_Expense'!$J$5:$J$13</c:f>
              <c:numCache>
                <c:formatCode>#,##0.00</c:formatCode>
                <c:ptCount val="8"/>
                <c:pt idx="0">
                  <c:v>42136369.189600006</c:v>
                </c:pt>
                <c:pt idx="1">
                  <c:v>46326012.775156811</c:v>
                </c:pt>
                <c:pt idx="2">
                  <c:v>23163006.387578405</c:v>
                </c:pt>
                <c:pt idx="3">
                  <c:v>19302505.322982002</c:v>
                </c:pt>
                <c:pt idx="4">
                  <c:v>18221565.024895009</c:v>
                </c:pt>
                <c:pt idx="5">
                  <c:v>12135274.3266048</c:v>
                </c:pt>
                <c:pt idx="6">
                  <c:v>11461092.4195712</c:v>
                </c:pt>
                <c:pt idx="7">
                  <c:v>6573273.5935776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75-4BAF-A516-947D9A543CBF}"/>
            </c:ext>
          </c:extLst>
        </c:ser>
        <c:ser>
          <c:idx val="1"/>
          <c:order val="1"/>
          <c:tx>
            <c:strRef>
              <c:f>'Scratch Paper_Expense'!$K$3:$K$4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375-4BAF-A516-947D9A543CBF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9</a:t>
                    </a:r>
                    <a:r>
                      <a:rPr lang="en-US" baseline="0"/>
                      <a:t> M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6375-4BAF-A516-947D9A543CBF}"/>
                </c:ext>
              </c:extLst>
            </c:dLbl>
            <c:dLbl>
              <c:idx val="1"/>
              <c:layout>
                <c:manualLayout>
                  <c:x val="1.6983406382460688E-2"/>
                  <c:y val="1.129207790124581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7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/>
                      <a:t>21</a:t>
                    </a:r>
                    <a:r>
                      <a:rPr lang="en-US" baseline="0"/>
                      <a:t> M</a:t>
                    </a:r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7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8916799384987015E-2"/>
                      <c:h val="4.831304780248178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A-6375-4BAF-A516-947D9A543CB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0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6375-4BAF-A516-947D9A543CBF}"/>
                </c:ext>
              </c:extLst>
            </c:dLbl>
            <c:dLbl>
              <c:idx val="3"/>
              <c:layout>
                <c:manualLayout>
                  <c:x val="1.5604684600039852E-2"/>
                  <c:y val="-2.3425536490898902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0</a:t>
                    </a:r>
                    <a:r>
                      <a:rPr lang="en-US" baseline="0"/>
                      <a:t> M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0-6375-4BAF-A516-947D9A543CBF}"/>
                </c:ext>
              </c:extLst>
            </c:dLbl>
            <c:dLbl>
              <c:idx val="4"/>
              <c:layout>
                <c:manualLayout>
                  <c:x val="1.0403123066693139E-2"/>
                  <c:y val="-4.6851072981797803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8</a:t>
                    </a:r>
                    <a:r>
                      <a:rPr lang="en-US" baseline="0"/>
                      <a:t> M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6375-4BAF-A516-947D9A543CBF}"/>
                </c:ext>
              </c:extLst>
            </c:dLbl>
            <c:dLbl>
              <c:idx val="5"/>
              <c:layout>
                <c:manualLayout>
                  <c:x val="5.2015615333466172E-3"/>
                  <c:y val="-4.6851072981797803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5</a:t>
                    </a:r>
                    <a:r>
                      <a:rPr lang="en-US" baseline="0"/>
                      <a:t> M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6-6375-4BAF-A516-947D9A543CBF}"/>
                </c:ext>
              </c:extLst>
            </c:dLbl>
            <c:dLbl>
              <c:idx val="6"/>
              <c:layout>
                <c:manualLayout>
                  <c:x val="7.8023423000198305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</a:t>
                    </a:r>
                    <a:r>
                      <a:rPr lang="en-US" baseline="0"/>
                      <a:t> M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9-6375-4BAF-A516-947D9A543CBF}"/>
                </c:ext>
              </c:extLst>
            </c:dLbl>
            <c:dLbl>
              <c:idx val="7"/>
              <c:layout>
                <c:manualLayout>
                  <c:x val="9.8328416912473295E-4"/>
                  <c:y val="6.3041765169424748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 M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6375-4BAF-A516-947D9A543CB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cratch Paper_Expense'!$I$5:$I$13</c:f>
              <c:strCache>
                <c:ptCount val="8"/>
                <c:pt idx="0">
                  <c:v>Labour-Costs (001)</c:v>
                </c:pt>
                <c:pt idx="1">
                  <c:v>Chem-Exp (001)</c:v>
                </c:pt>
                <c:pt idx="2">
                  <c:v>Utility-Exp (002) - Heating</c:v>
                </c:pt>
                <c:pt idx="3">
                  <c:v>Utility-Exp (002) - Electricity</c:v>
                </c:pt>
                <c:pt idx="4">
                  <c:v>Plant Maintenance (001)</c:v>
                </c:pt>
                <c:pt idx="5">
                  <c:v>Plant Op. Costs (003)</c:v>
                </c:pt>
                <c:pt idx="6">
                  <c:v>Plant Outages (002)</c:v>
                </c:pt>
                <c:pt idx="7">
                  <c:v>Plant Admin Costs (004)</c:v>
                </c:pt>
              </c:strCache>
            </c:strRef>
          </c:cat>
          <c:val>
            <c:numRef>
              <c:f>'Scratch Paper_Expense'!$K$5:$K$13</c:f>
              <c:numCache>
                <c:formatCode>#,##0.00</c:formatCode>
                <c:ptCount val="8"/>
                <c:pt idx="0">
                  <c:v>29638834.095899999</c:v>
                </c:pt>
                <c:pt idx="1">
                  <c:v>21961819.498855624</c:v>
                </c:pt>
                <c:pt idx="2">
                  <c:v>10834063.805491872</c:v>
                </c:pt>
                <c:pt idx="3">
                  <c:v>10031540.560640626</c:v>
                </c:pt>
                <c:pt idx="4">
                  <c:v>8667251.0443934985</c:v>
                </c:pt>
                <c:pt idx="5">
                  <c:v>5505359.0464859996</c:v>
                </c:pt>
                <c:pt idx="6">
                  <c:v>2219902.8413250004</c:v>
                </c:pt>
                <c:pt idx="7">
                  <c:v>1864718.3867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375-4BAF-A516-947D9A543CBF}"/>
            </c:ext>
          </c:extLst>
        </c:ser>
        <c:ser>
          <c:idx val="2"/>
          <c:order val="2"/>
          <c:tx>
            <c:strRef>
              <c:f>'Scratch Paper_Expense'!$L$3:$L$4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375-4BAF-A516-947D9A543CB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375-4BAF-A516-947D9A543CBF}"/>
              </c:ext>
            </c:extLst>
          </c:dPt>
          <c:dLbls>
            <c:dLbl>
              <c:idx val="0"/>
              <c:layout>
                <c:manualLayout>
                  <c:x val="5.2015615333466172E-3"/>
                  <c:y val="9.3702145963595607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5</a:t>
                    </a:r>
                    <a:r>
                      <a:rPr lang="en-US" baseline="0"/>
                      <a:t> M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6375-4BAF-A516-947D9A543CBF}"/>
                </c:ext>
              </c:extLst>
            </c:dLbl>
            <c:dLbl>
              <c:idx val="1"/>
              <c:layout>
                <c:manualLayout>
                  <c:x val="1.4993603512815194E-2"/>
                  <c:y val="-1.0008422125954129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0</a:t>
                    </a:r>
                    <a:r>
                      <a:rPr lang="en-US" baseline="0"/>
                      <a:t> M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6375-4BAF-A516-947D9A543CBF}"/>
                </c:ext>
              </c:extLst>
            </c:dLbl>
            <c:dLbl>
              <c:idx val="2"/>
              <c:layout>
                <c:manualLayout>
                  <c:x val="1.3003903833366543E-2"/>
                  <c:y val="4.6851072981797803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4</a:t>
                    </a:r>
                    <a:r>
                      <a:rPr lang="en-US" baseline="0"/>
                      <a:t> M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6375-4BAF-A516-947D9A543CBF}"/>
                </c:ext>
              </c:extLst>
            </c:dLbl>
            <c:dLbl>
              <c:idx val="3"/>
              <c:layout>
                <c:manualLayout>
                  <c:x val="1.5604684600039852E-2"/>
                  <c:y val="4.6851072981797803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7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1-6375-4BAF-A516-947D9A543CBF}"/>
                </c:ext>
              </c:extLst>
            </c:dLbl>
            <c:dLbl>
              <c:idx val="4"/>
              <c:layout>
                <c:manualLayout>
                  <c:x val="7.8023423000199259E-3"/>
                  <c:y val="4.6851072981796945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4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4-6375-4BAF-A516-947D9A543CBF}"/>
                </c:ext>
              </c:extLst>
            </c:dLbl>
            <c:dLbl>
              <c:idx val="5"/>
              <c:layout>
                <c:manualLayout>
                  <c:x val="7.8023423000199259E-3"/>
                  <c:y val="9.3702145963595607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3</a:t>
                    </a:r>
                    <a:r>
                      <a:rPr lang="en-US" baseline="0"/>
                      <a:t>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7-6375-4BAF-A516-947D9A543CBF}"/>
                </c:ext>
              </c:extLst>
            </c:dLbl>
            <c:dLbl>
              <c:idx val="6"/>
              <c:layout>
                <c:manualLayout>
                  <c:x val="7.8023423000198305E-3"/>
                  <c:y val="-2.836887804960827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 M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6375-4BAF-A516-947D9A543CBF}"/>
                </c:ext>
              </c:extLst>
            </c:dLbl>
            <c:dLbl>
              <c:idx val="7"/>
              <c:layout>
                <c:manualLayout>
                  <c:x val="5.5507214709195922E-3"/>
                  <c:y val="-2.513062042256716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</a:t>
                    </a:r>
                    <a:r>
                      <a:rPr lang="en-US" baseline="0" dirty="0"/>
                      <a:t>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6375-4BAF-A516-947D9A543CB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cratch Paper_Expense'!$I$5:$I$13</c:f>
              <c:strCache>
                <c:ptCount val="8"/>
                <c:pt idx="0">
                  <c:v>Labour-Costs (001)</c:v>
                </c:pt>
                <c:pt idx="1">
                  <c:v>Chem-Exp (001)</c:v>
                </c:pt>
                <c:pt idx="2">
                  <c:v>Utility-Exp (002) - Heating</c:v>
                </c:pt>
                <c:pt idx="3">
                  <c:v>Utility-Exp (002) - Electricity</c:v>
                </c:pt>
                <c:pt idx="4">
                  <c:v>Plant Maintenance (001)</c:v>
                </c:pt>
                <c:pt idx="5">
                  <c:v>Plant Op. Costs (003)</c:v>
                </c:pt>
                <c:pt idx="6">
                  <c:v>Plant Outages (002)</c:v>
                </c:pt>
                <c:pt idx="7">
                  <c:v>Plant Admin Costs (004)</c:v>
                </c:pt>
              </c:strCache>
            </c:strRef>
          </c:cat>
          <c:val>
            <c:numRef>
              <c:f>'Scratch Paper_Expense'!$L$5:$L$13</c:f>
              <c:numCache>
                <c:formatCode>#,##0.00</c:formatCode>
                <c:ptCount val="8"/>
                <c:pt idx="0">
                  <c:v>15553428.285312492</c:v>
                </c:pt>
                <c:pt idx="1">
                  <c:v>10125517.983652497</c:v>
                </c:pt>
                <c:pt idx="2">
                  <c:v>4720521.2044999981</c:v>
                </c:pt>
                <c:pt idx="3">
                  <c:v>7080781.8067499967</c:v>
                </c:pt>
                <c:pt idx="4">
                  <c:v>4863981.2092249971</c:v>
                </c:pt>
                <c:pt idx="5">
                  <c:v>3450033.1832874976</c:v>
                </c:pt>
                <c:pt idx="6">
                  <c:v>3054127.7360249986</c:v>
                </c:pt>
                <c:pt idx="7">
                  <c:v>2375432.6835749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375-4BAF-A516-947D9A543CB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54294351"/>
        <c:axId val="554297263"/>
      </c:barChart>
      <c:catAx>
        <c:axId val="5542943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4297263"/>
        <c:crosses val="autoZero"/>
        <c:auto val="1"/>
        <c:lblAlgn val="ctr"/>
        <c:lblOffset val="100"/>
        <c:noMultiLvlLbl val="0"/>
      </c:catAx>
      <c:valAx>
        <c:axId val="554297263"/>
        <c:scaling>
          <c:orientation val="minMax"/>
          <c:max val="4800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42943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he</a:t>
            </a:r>
            <a:r>
              <a:rPr lang="en-US" baseline="0"/>
              <a:t> expense in water product(s) at the macro-view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6"/>
          <c:order val="0"/>
          <c:tx>
            <c:strRef>
              <c:f>'[Southern Water Corp Financial Case Study_EBIT_Dongwoo Shin.xlsx]Expenses Analysis'!$C$62:$D$62</c:f>
              <c:strCache>
                <c:ptCount val="2"/>
                <c:pt idx="0">
                  <c:v>Operational Maintenance Costs</c:v>
                </c:pt>
                <c:pt idx="1">
                  <c:v>Plant Admin Costs (004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Southern Water Corp Financial Case Study_EBIT_Dongwoo Shin.xlsx]Expenses Analysis'!$R$62</c:f>
              <c:numCache>
                <c:formatCode>"$"#,##0.00;[Red]\-"$"#,##0.00</c:formatCode>
                <c:ptCount val="1"/>
                <c:pt idx="0">
                  <c:v>10813424.66386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74-45CD-AEE7-C7B02C1EBA2F}"/>
            </c:ext>
          </c:extLst>
        </c:ser>
        <c:ser>
          <c:idx val="4"/>
          <c:order val="1"/>
          <c:tx>
            <c:strRef>
              <c:f>'[Southern Water Corp Financial Case Study_EBIT_Dongwoo Shin.xlsx]Expenses Analysis'!$C$60:$D$60</c:f>
              <c:strCache>
                <c:ptCount val="2"/>
                <c:pt idx="0">
                  <c:v>Operational Maintenance Costs</c:v>
                </c:pt>
                <c:pt idx="1">
                  <c:v>Plant Outages (002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Southern Water Corp Financial Case Study_EBIT_Dongwoo Shin.xlsx]Expenses Analysis'!$R$60</c:f>
              <c:numCache>
                <c:formatCode>"$"#,##0.00;[Red]\-"$"#,##0.00</c:formatCode>
                <c:ptCount val="1"/>
                <c:pt idx="0">
                  <c:v>16735122.996921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74-45CD-AEE7-C7B02C1EBA2F}"/>
            </c:ext>
          </c:extLst>
        </c:ser>
        <c:ser>
          <c:idx val="5"/>
          <c:order val="2"/>
          <c:tx>
            <c:strRef>
              <c:f>'[Southern Water Corp Financial Case Study_EBIT_Dongwoo Shin.xlsx]Expenses Analysis'!$C$61:$D$61</c:f>
              <c:strCache>
                <c:ptCount val="2"/>
                <c:pt idx="0">
                  <c:v>Operational Maintenance Costs</c:v>
                </c:pt>
                <c:pt idx="1">
                  <c:v>Plant Op. Costs (003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Southern Water Corp Financial Case Study_EBIT_Dongwoo Shin.xlsx]Expenses Analysis'!$R$61</c:f>
              <c:numCache>
                <c:formatCode>"$"#,##0.00;[Red]\-"$"#,##0.00</c:formatCode>
                <c:ptCount val="1"/>
                <c:pt idx="0">
                  <c:v>21090666.5563782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74-45CD-AEE7-C7B02C1EBA2F}"/>
            </c:ext>
          </c:extLst>
        </c:ser>
        <c:ser>
          <c:idx val="3"/>
          <c:order val="3"/>
          <c:tx>
            <c:strRef>
              <c:f>'[Southern Water Corp Financial Case Study_EBIT_Dongwoo Shin.xlsx]Expenses Analysis'!$C$59:$D$59</c:f>
              <c:strCache>
                <c:ptCount val="2"/>
                <c:pt idx="0">
                  <c:v>Operational Maintenance Costs</c:v>
                </c:pt>
                <c:pt idx="1">
                  <c:v>Plant Maintenance (001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Southern Water Corp Financial Case Study_EBIT_Dongwoo Shin.xlsx]Expenses Analysis'!$R$59</c:f>
              <c:numCache>
                <c:formatCode>"$"#,##0.00;[Red]\-"$"#,##0.00</c:formatCode>
                <c:ptCount val="1"/>
                <c:pt idx="0">
                  <c:v>31752797.278513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274-45CD-AEE7-C7B02C1EBA2F}"/>
            </c:ext>
          </c:extLst>
        </c:ser>
        <c:ser>
          <c:idx val="2"/>
          <c:order val="4"/>
          <c:tx>
            <c:strRef>
              <c:f>'[Southern Water Corp Financial Case Study_EBIT_Dongwoo Shin.xlsx]Expenses Analysis'!$C$58:$D$58</c:f>
              <c:strCache>
                <c:ptCount val="2"/>
                <c:pt idx="0">
                  <c:v>Facility Costs</c:v>
                </c:pt>
                <c:pt idx="1">
                  <c:v>Utility-Exp (002) - Electri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Southern Water Corp Financial Case Study_EBIT_Dongwoo Shin.xlsx]Expenses Analysis'!$R$58</c:f>
              <c:numCache>
                <c:formatCode>"$"#,##0.00;[Red]\-"$"#,##0.00</c:formatCode>
                <c:ptCount val="1"/>
                <c:pt idx="0">
                  <c:v>36414827.690372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274-45CD-AEE7-C7B02C1EBA2F}"/>
            </c:ext>
          </c:extLst>
        </c:ser>
        <c:ser>
          <c:idx val="1"/>
          <c:order val="5"/>
          <c:tx>
            <c:strRef>
              <c:f>'[Southern Water Corp Financial Case Study_EBIT_Dongwoo Shin.xlsx]Expenses Analysis'!$C$57:$D$57</c:f>
              <c:strCache>
                <c:ptCount val="2"/>
                <c:pt idx="0">
                  <c:v>Facility Costs</c:v>
                </c:pt>
                <c:pt idx="1">
                  <c:v>Utility-Exp (002) - Heat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Southern Water Corp Financial Case Study_EBIT_Dongwoo Shin.xlsx]Expenses Analysis'!$R$57</c:f>
              <c:numCache>
                <c:formatCode>"$"#,##0.00;[Red]\-"$"#,##0.00</c:formatCode>
                <c:ptCount val="1"/>
                <c:pt idx="0">
                  <c:v>38717591.3975702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274-45CD-AEE7-C7B02C1EBA2F}"/>
            </c:ext>
          </c:extLst>
        </c:ser>
        <c:ser>
          <c:idx val="0"/>
          <c:order val="6"/>
          <c:tx>
            <c:strRef>
              <c:f>'[Southern Water Corp Financial Case Study_EBIT_Dongwoo Shin.xlsx]Expenses Analysis'!$C$56:$D$56</c:f>
              <c:strCache>
                <c:ptCount val="2"/>
                <c:pt idx="0">
                  <c:v>Chemical Costs</c:v>
                </c:pt>
                <c:pt idx="1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Southern Water Corp Financial Case Study_EBIT_Dongwoo Shin.xlsx]Expenses Analysis'!$R$56</c:f>
              <c:numCache>
                <c:formatCode>"$"#,##0.00;[Red]\-"$"#,##0.00</c:formatCode>
                <c:ptCount val="1"/>
                <c:pt idx="0">
                  <c:v>78413350.2576649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274-45CD-AEE7-C7B02C1EBA2F}"/>
            </c:ext>
          </c:extLst>
        </c:ser>
        <c:ser>
          <c:idx val="7"/>
          <c:order val="7"/>
          <c:tx>
            <c:strRef>
              <c:f>'[Southern Water Corp Financial Case Study_EBIT_Dongwoo Shin.xlsx]Expenses Analysis'!$C$63:$D$63</c:f>
              <c:strCache>
                <c:ptCount val="2"/>
                <c:pt idx="0">
                  <c:v>Labour Costs</c:v>
                </c:pt>
                <c:pt idx="1">
                  <c:v>Labour-Costs (001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8770563590421246E-2"/>
                  <c:y val="-6.462987943845990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274-45CD-AEE7-C7B02C1EBA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Southern Water Corp Financial Case Study_EBIT_Dongwoo Shin.xlsx]Expenses Analysis'!$R$63</c:f>
              <c:numCache>
                <c:formatCode>"$"#,##0.00;[Red]\-"$"#,##0.00</c:formatCode>
                <c:ptCount val="1"/>
                <c:pt idx="0">
                  <c:v>87328631.570812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274-45CD-AEE7-C7B02C1EBA2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448616607"/>
        <c:axId val="448614943"/>
      </c:barChart>
      <c:catAx>
        <c:axId val="44861660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48614943"/>
        <c:crosses val="autoZero"/>
        <c:auto val="1"/>
        <c:lblAlgn val="ctr"/>
        <c:lblOffset val="100"/>
        <c:noMultiLvlLbl val="0"/>
      </c:catAx>
      <c:valAx>
        <c:axId val="448614943"/>
        <c:scaling>
          <c:orientation val="minMax"/>
          <c:max val="900000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8616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5900071201711156E-2"/>
          <c:y val="0.84279331651035572"/>
          <c:w val="0.86736186077229938"/>
          <c:h val="0.133862524539835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tal</a:t>
            </a:r>
            <a:r>
              <a:rPr lang="en-US" baseline="0"/>
              <a:t> Expenses of each Cost Element in </a:t>
            </a:r>
            <a:r>
              <a:rPr lang="en-US"/>
              <a:t>Kooth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0.13</a:t>
                    </a:r>
                    <a:r>
                      <a:rPr lang="en-US" baseline="0"/>
                      <a:t>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877E-48A1-B533-27FDC6CF2CB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.72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877E-48A1-B533-27FDC6CF2CB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7.08</a:t>
                    </a:r>
                    <a:r>
                      <a:rPr lang="en-US" baseline="0"/>
                      <a:t>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877E-48A1-B533-27FDC6CF2CB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4.86</a:t>
                    </a:r>
                    <a:r>
                      <a:rPr lang="en-US" baseline="0"/>
                      <a:t>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877E-48A1-B533-27FDC6CF2CB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3.05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877E-48A1-B533-27FDC6CF2CBD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3.45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877E-48A1-B533-27FDC6CF2CBD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2.38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877E-48A1-B533-27FDC6CF2CBD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15.55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877E-48A1-B533-27FDC6CF2CB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_EBIT_Dongwoo Shin.xlsx]Expenses Analysis'!$A$18:$E$25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  <c:extLst/>
            </c:strRef>
          </c:cat>
          <c:val>
            <c:numRef>
              <c:f>'[Southern Water Corp Financial Case Study_EBIT_Dongwoo Shin.xlsx]Expenses Analysis'!$R$18:$R$25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7E-48A1-B533-27FDC6CF2CB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45253392"/>
        <c:axId val="1945251312"/>
      </c:barChart>
      <c:catAx>
        <c:axId val="1945253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5251312"/>
        <c:crosses val="autoZero"/>
        <c:auto val="1"/>
        <c:lblAlgn val="ctr"/>
        <c:lblOffset val="100"/>
        <c:noMultiLvlLbl val="0"/>
      </c:catAx>
      <c:valAx>
        <c:axId val="1945251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5253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baseline="0">
                <a:effectLst/>
              </a:rPr>
              <a:t>Total Expenses of each Cost Element in </a:t>
            </a:r>
            <a:r>
              <a:rPr lang="en-US"/>
              <a:t>Surje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46.32</a:t>
                    </a:r>
                    <a:r>
                      <a:rPr lang="en-US" baseline="0"/>
                      <a:t> M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3EC5-4243-B3E5-7D012CCE6D3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23.16</a:t>
                    </a:r>
                    <a:r>
                      <a:rPr lang="en-US" baseline="0"/>
                      <a:t>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3EC5-4243-B3E5-7D012CCE6D3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9.30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3EC5-4243-B3E5-7D012CCE6D3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8.22</a:t>
                    </a:r>
                    <a:r>
                      <a:rPr lang="en-US" baseline="0"/>
                      <a:t>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3EC5-4243-B3E5-7D012CCE6D3B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11.46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3EC5-4243-B3E5-7D012CCE6D3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12.13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3EC5-4243-B3E5-7D012CCE6D3B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6.57</a:t>
                    </a:r>
                    <a:r>
                      <a:rPr lang="en-US" baseline="0"/>
                      <a:t>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3EC5-4243-B3E5-7D012CCE6D3B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42.13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3EC5-4243-B3E5-7D012CCE6D3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_EBIT_Dongwoo Shin.xlsx]Expenses Analysis'!$A$28:$E$35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  <c:extLst/>
            </c:strRef>
          </c:cat>
          <c:val>
            <c:numRef>
              <c:f>'[Southern Water Corp Financial Case Study_EBIT_Dongwoo Shin.xlsx]Expenses Analysis'!$R$28:$R$35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C5-4243-B3E5-7D012CCE6D3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04617568"/>
        <c:axId val="1004617984"/>
      </c:barChart>
      <c:catAx>
        <c:axId val="1004617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04617984"/>
        <c:crosses val="autoZero"/>
        <c:auto val="1"/>
        <c:lblAlgn val="ctr"/>
        <c:lblOffset val="100"/>
        <c:noMultiLvlLbl val="0"/>
      </c:catAx>
      <c:valAx>
        <c:axId val="10046179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046175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baseline="0">
                <a:effectLst/>
              </a:rPr>
              <a:t>Total Expenses of each Cost Element in </a:t>
            </a:r>
            <a:r>
              <a:rPr lang="en-US"/>
              <a:t>Juti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1.96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3B2E-4B45-90B7-2B329A157BC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0.83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3B2E-4B45-90B7-2B329A157BC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0.03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3B2E-4B45-90B7-2B329A157BC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8.66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3B2E-4B45-90B7-2B329A157BC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2.22</a:t>
                    </a:r>
                    <a:r>
                      <a:rPr lang="en-US" baseline="0"/>
                      <a:t>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3B2E-4B45-90B7-2B329A157BC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5.50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3B2E-4B45-90B7-2B329A157BC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1.86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3B2E-4B45-90B7-2B329A157BC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29.63 M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3B2E-4B45-90B7-2B329A157B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_EBIT_Dongwoo Shin.xlsx]Expenses Analysis'!$A$38:$E$45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  <c:extLst/>
            </c:strRef>
          </c:cat>
          <c:val>
            <c:numRef>
              <c:f>'[Southern Water Corp Financial Case Study_EBIT_Dongwoo Shin.xlsx]Expenses Analysis'!$R$38:$R$45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2E-4B45-90B7-2B329A157BC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46824256"/>
        <c:axId val="1946819680"/>
      </c:barChart>
      <c:catAx>
        <c:axId val="1946824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6819680"/>
        <c:crosses val="autoZero"/>
        <c:auto val="1"/>
        <c:lblAlgn val="ctr"/>
        <c:lblOffset val="100"/>
        <c:noMultiLvlLbl val="0"/>
      </c:catAx>
      <c:valAx>
        <c:axId val="19468196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68242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outhern Water Corp Financial Case Study_EBIT_Dongwoo Shin.xlsx]Scratch Paper_Expense!PivotTable107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/>
              <a:t>Chemical</a:t>
            </a:r>
            <a:r>
              <a:rPr lang="en-US" sz="1600" b="1" baseline="0"/>
              <a:t> Expenditures vs. Water Production Actual by Uni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3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"/>
        <c:spPr>
          <a:solidFill>
            <a:schemeClr val="accent5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"/>
        <c:spPr>
          <a:solidFill>
            <a:schemeClr val="accent1"/>
          </a:solidFill>
          <a:ln w="28575" cap="rnd">
            <a:solidFill>
              <a:schemeClr val="accent4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"/>
        <c:spPr>
          <a:solidFill>
            <a:schemeClr val="accent1"/>
          </a:solidFill>
          <a:ln w="28575" cap="rnd">
            <a:solidFill>
              <a:schemeClr val="accent6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"/>
        <c:spPr>
          <a:solidFill>
            <a:srgbClr val="FFC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"/>
        <c:spPr>
          <a:solidFill>
            <a:schemeClr val="accent6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"/>
        <c:spPr>
          <a:solidFill>
            <a:schemeClr val="accent1"/>
          </a:solidFill>
          <a:ln w="28575" cap="rnd">
            <a:solidFill>
              <a:schemeClr val="accent4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"/>
        <c:spPr>
          <a:solidFill>
            <a:schemeClr val="accent1"/>
          </a:solidFill>
          <a:ln w="28575" cap="rnd">
            <a:solidFill>
              <a:schemeClr val="accent6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"/>
        <c:spPr>
          <a:solidFill>
            <a:srgbClr val="FFC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"/>
        <c:spPr>
          <a:solidFill>
            <a:schemeClr val="accent6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"/>
        <c:spPr>
          <a:solidFill>
            <a:schemeClr val="accent1"/>
          </a:solidFill>
          <a:ln w="28575" cap="rnd">
            <a:solidFill>
              <a:schemeClr val="accent4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"/>
        <c:spPr>
          <a:solidFill>
            <a:schemeClr val="accent1"/>
          </a:solidFill>
          <a:ln w="28575" cap="rnd">
            <a:solidFill>
              <a:schemeClr val="accent6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1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2"/>
        <c:spPr>
          <a:solidFill>
            <a:srgbClr val="FFC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3"/>
        <c:spPr>
          <a:solidFill>
            <a:schemeClr val="accent6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4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5"/>
        <c:spPr>
          <a:solidFill>
            <a:schemeClr val="accent1"/>
          </a:solidFill>
          <a:ln w="28575" cap="rnd">
            <a:solidFill>
              <a:schemeClr val="accent4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6"/>
        <c:spPr>
          <a:solidFill>
            <a:schemeClr val="accent1"/>
          </a:solidFill>
          <a:ln w="28575" cap="rnd">
            <a:solidFill>
              <a:schemeClr val="accent6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cratch Paper_Expense'!$W$56:$W$58</c:f>
              <c:strCache>
                <c:ptCount val="1"/>
                <c:pt idx="0">
                  <c:v>Jutik - Chemical Expenditu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Scratch Paper_Expense'!$V$59:$V$71</c:f>
              <c:strCache>
                <c:ptCount val="12"/>
                <c:pt idx="0">
                  <c:v>Jul-13</c:v>
                </c:pt>
                <c:pt idx="1">
                  <c:v>Aug-13</c:v>
                </c:pt>
                <c:pt idx="2">
                  <c:v>Sep-13</c:v>
                </c:pt>
                <c:pt idx="3">
                  <c:v>Oct-13</c:v>
                </c:pt>
                <c:pt idx="4">
                  <c:v>Nov-13</c:v>
                </c:pt>
                <c:pt idx="5">
                  <c:v>Dec-13</c:v>
                </c:pt>
                <c:pt idx="6">
                  <c:v>Feb-14</c:v>
                </c:pt>
                <c:pt idx="7">
                  <c:v>Jan-14</c:v>
                </c:pt>
                <c:pt idx="8">
                  <c:v>Jun-14</c:v>
                </c:pt>
                <c:pt idx="9">
                  <c:v>Apr-14</c:v>
                </c:pt>
                <c:pt idx="10">
                  <c:v>Mar-14</c:v>
                </c:pt>
                <c:pt idx="11">
                  <c:v>May-14</c:v>
                </c:pt>
              </c:strCache>
            </c:strRef>
          </c:cat>
          <c:val>
            <c:numRef>
              <c:f>'Scratch Paper_Expense'!$W$59:$W$71</c:f>
              <c:numCache>
                <c:formatCode>General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912219.1750437501</c:v>
                </c:pt>
                <c:pt idx="7">
                  <c:v>1877449.5046125001</c:v>
                </c:pt>
                <c:pt idx="8">
                  <c:v>2274807.7859325004</c:v>
                </c:pt>
                <c:pt idx="9">
                  <c:v>2234200.5744250002</c:v>
                </c:pt>
                <c:pt idx="10">
                  <c:v>2266625.1980531253</c:v>
                </c:pt>
                <c:pt idx="11">
                  <c:v>2593715.6428375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1C-4B5E-A772-1BE0999D7D27}"/>
            </c:ext>
          </c:extLst>
        </c:ser>
        <c:ser>
          <c:idx val="2"/>
          <c:order val="2"/>
          <c:tx>
            <c:strRef>
              <c:f>'Scratch Paper_Expense'!$Z$56:$Z$58</c:f>
              <c:strCache>
                <c:ptCount val="1"/>
                <c:pt idx="0">
                  <c:v>Kootha - Chemical Expenditur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'Scratch Paper_Expense'!$V$59:$V$71</c:f>
              <c:strCache>
                <c:ptCount val="12"/>
                <c:pt idx="0">
                  <c:v>Jul-13</c:v>
                </c:pt>
                <c:pt idx="1">
                  <c:v>Aug-13</c:v>
                </c:pt>
                <c:pt idx="2">
                  <c:v>Sep-13</c:v>
                </c:pt>
                <c:pt idx="3">
                  <c:v>Oct-13</c:v>
                </c:pt>
                <c:pt idx="4">
                  <c:v>Nov-13</c:v>
                </c:pt>
                <c:pt idx="5">
                  <c:v>Dec-13</c:v>
                </c:pt>
                <c:pt idx="6">
                  <c:v>Feb-14</c:v>
                </c:pt>
                <c:pt idx="7">
                  <c:v>Jan-14</c:v>
                </c:pt>
                <c:pt idx="8">
                  <c:v>Jun-14</c:v>
                </c:pt>
                <c:pt idx="9">
                  <c:v>Apr-14</c:v>
                </c:pt>
                <c:pt idx="10">
                  <c:v>Mar-14</c:v>
                </c:pt>
                <c:pt idx="11">
                  <c:v>May-14</c:v>
                </c:pt>
              </c:strCache>
            </c:strRef>
          </c:cat>
          <c:val>
            <c:numRef>
              <c:f>'Scratch Paper_Expense'!$Z$59:$Z$71</c:f>
              <c:numCache>
                <c:formatCode>General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964931.83751249989</c:v>
                </c:pt>
                <c:pt idx="7">
                  <c:v>1146143.9846999997</c:v>
                </c:pt>
                <c:pt idx="8">
                  <c:v>1168045.22566875</c:v>
                </c:pt>
                <c:pt idx="9">
                  <c:v>964825.21760624985</c:v>
                </c:pt>
                <c:pt idx="10">
                  <c:v>962733.95790000004</c:v>
                </c:pt>
                <c:pt idx="11">
                  <c:v>1024534.78359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1C-4B5E-A772-1BE0999D7D27}"/>
            </c:ext>
          </c:extLst>
        </c:ser>
        <c:ser>
          <c:idx val="4"/>
          <c:order val="4"/>
          <c:tx>
            <c:strRef>
              <c:f>'Scratch Paper_Expense'!$AC$56:$AC$58</c:f>
              <c:strCache>
                <c:ptCount val="1"/>
                <c:pt idx="0">
                  <c:v>Surjek - Chemical Expenditur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Scratch Paper_Expense'!$V$59:$V$71</c:f>
              <c:strCache>
                <c:ptCount val="12"/>
                <c:pt idx="0">
                  <c:v>Jul-13</c:v>
                </c:pt>
                <c:pt idx="1">
                  <c:v>Aug-13</c:v>
                </c:pt>
                <c:pt idx="2">
                  <c:v>Sep-13</c:v>
                </c:pt>
                <c:pt idx="3">
                  <c:v>Oct-13</c:v>
                </c:pt>
                <c:pt idx="4">
                  <c:v>Nov-13</c:v>
                </c:pt>
                <c:pt idx="5">
                  <c:v>Dec-13</c:v>
                </c:pt>
                <c:pt idx="6">
                  <c:v>Feb-14</c:v>
                </c:pt>
                <c:pt idx="7">
                  <c:v>Jan-14</c:v>
                </c:pt>
                <c:pt idx="8">
                  <c:v>Jun-14</c:v>
                </c:pt>
                <c:pt idx="9">
                  <c:v>Apr-14</c:v>
                </c:pt>
                <c:pt idx="10">
                  <c:v>Mar-14</c:v>
                </c:pt>
                <c:pt idx="11">
                  <c:v>May-14</c:v>
                </c:pt>
              </c:strCache>
            </c:strRef>
          </c:cat>
          <c:val>
            <c:numRef>
              <c:f>'Scratch Paper_Expense'!$AC$59:$AC$71</c:f>
              <c:numCache>
                <c:formatCode>General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767948.2214000002</c:v>
                </c:pt>
                <c:pt idx="7">
                  <c:v>4049642.8266000003</c:v>
                </c:pt>
                <c:pt idx="8">
                  <c:v>2269805.1667200001</c:v>
                </c:pt>
                <c:pt idx="9">
                  <c:v>4671541.1274000006</c:v>
                </c:pt>
                <c:pt idx="10">
                  <c:v>4346722.8083999995</c:v>
                </c:pt>
                <c:pt idx="11">
                  <c:v>5478104.60400000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1C-4B5E-A772-1BE0999D7D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81119855"/>
        <c:axId val="481103631"/>
      </c:barChart>
      <c:lineChart>
        <c:grouping val="standard"/>
        <c:varyColors val="0"/>
        <c:ser>
          <c:idx val="1"/>
          <c:order val="1"/>
          <c:tx>
            <c:strRef>
              <c:f>'Scratch Paper_Expense'!$X$56:$X$58</c:f>
              <c:strCache>
                <c:ptCount val="1"/>
                <c:pt idx="0">
                  <c:v>Jutik - Water Production Actual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Scratch Paper_Expense'!$V$59:$V$71</c:f>
              <c:strCache>
                <c:ptCount val="12"/>
                <c:pt idx="0">
                  <c:v>Jul-13</c:v>
                </c:pt>
                <c:pt idx="1">
                  <c:v>Aug-13</c:v>
                </c:pt>
                <c:pt idx="2">
                  <c:v>Sep-13</c:v>
                </c:pt>
                <c:pt idx="3">
                  <c:v>Oct-13</c:v>
                </c:pt>
                <c:pt idx="4">
                  <c:v>Nov-13</c:v>
                </c:pt>
                <c:pt idx="5">
                  <c:v>Dec-13</c:v>
                </c:pt>
                <c:pt idx="6">
                  <c:v>Feb-14</c:v>
                </c:pt>
                <c:pt idx="7">
                  <c:v>Jan-14</c:v>
                </c:pt>
                <c:pt idx="8">
                  <c:v>Jun-14</c:v>
                </c:pt>
                <c:pt idx="9">
                  <c:v>Apr-14</c:v>
                </c:pt>
                <c:pt idx="10">
                  <c:v>Mar-14</c:v>
                </c:pt>
                <c:pt idx="11">
                  <c:v>May-14</c:v>
                </c:pt>
              </c:strCache>
            </c:strRef>
          </c:cat>
          <c:val>
            <c:numRef>
              <c:f>'Scratch Paper_Expense'!$X$59:$X$71</c:f>
              <c:numCache>
                <c:formatCode>General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17.43019900000002</c:v>
                </c:pt>
                <c:pt idx="7">
                  <c:v>204.20249700000002</c:v>
                </c:pt>
                <c:pt idx="8">
                  <c:v>220.380334</c:v>
                </c:pt>
                <c:pt idx="9">
                  <c:v>236.441136</c:v>
                </c:pt>
                <c:pt idx="10">
                  <c:v>230.98220000000001</c:v>
                </c:pt>
                <c:pt idx="11">
                  <c:v>241.407368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61C-4B5E-A772-1BE0999D7D27}"/>
            </c:ext>
          </c:extLst>
        </c:ser>
        <c:ser>
          <c:idx val="3"/>
          <c:order val="3"/>
          <c:tx>
            <c:strRef>
              <c:f>'Scratch Paper_Expense'!$AA$56:$AA$58</c:f>
              <c:strCache>
                <c:ptCount val="1"/>
                <c:pt idx="0">
                  <c:v>Kootha - Water Production Actual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'Scratch Paper_Expense'!$V$59:$V$71</c:f>
              <c:strCache>
                <c:ptCount val="12"/>
                <c:pt idx="0">
                  <c:v>Jul-13</c:v>
                </c:pt>
                <c:pt idx="1">
                  <c:v>Aug-13</c:v>
                </c:pt>
                <c:pt idx="2">
                  <c:v>Sep-13</c:v>
                </c:pt>
                <c:pt idx="3">
                  <c:v>Oct-13</c:v>
                </c:pt>
                <c:pt idx="4">
                  <c:v>Nov-13</c:v>
                </c:pt>
                <c:pt idx="5">
                  <c:v>Dec-13</c:v>
                </c:pt>
                <c:pt idx="6">
                  <c:v>Feb-14</c:v>
                </c:pt>
                <c:pt idx="7">
                  <c:v>Jan-14</c:v>
                </c:pt>
                <c:pt idx="8">
                  <c:v>Jun-14</c:v>
                </c:pt>
                <c:pt idx="9">
                  <c:v>Apr-14</c:v>
                </c:pt>
                <c:pt idx="10">
                  <c:v>Mar-14</c:v>
                </c:pt>
                <c:pt idx="11">
                  <c:v>May-14</c:v>
                </c:pt>
              </c:strCache>
            </c:strRef>
          </c:cat>
          <c:val>
            <c:numRef>
              <c:f>'Scratch Paper_Expense'!$AA$59:$AA$71</c:f>
              <c:numCache>
                <c:formatCode>General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58.58676500000001</c:v>
                </c:pt>
                <c:pt idx="7">
                  <c:v>186.90143900000001</c:v>
                </c:pt>
                <c:pt idx="8">
                  <c:v>142.50871699999999</c:v>
                </c:pt>
                <c:pt idx="9">
                  <c:v>171.057864</c:v>
                </c:pt>
                <c:pt idx="10">
                  <c:v>191.40367599999999</c:v>
                </c:pt>
                <c:pt idx="11">
                  <c:v>169.286999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61C-4B5E-A772-1BE0999D7D27}"/>
            </c:ext>
          </c:extLst>
        </c:ser>
        <c:ser>
          <c:idx val="5"/>
          <c:order val="5"/>
          <c:tx>
            <c:strRef>
              <c:f>'Scratch Paper_Expense'!$AD$56:$AD$58</c:f>
              <c:strCache>
                <c:ptCount val="1"/>
                <c:pt idx="0">
                  <c:v>Surjek - Water Production Actual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'Scratch Paper_Expense'!$V$59:$V$71</c:f>
              <c:strCache>
                <c:ptCount val="12"/>
                <c:pt idx="0">
                  <c:v>Jul-13</c:v>
                </c:pt>
                <c:pt idx="1">
                  <c:v>Aug-13</c:v>
                </c:pt>
                <c:pt idx="2">
                  <c:v>Sep-13</c:v>
                </c:pt>
                <c:pt idx="3">
                  <c:v>Oct-13</c:v>
                </c:pt>
                <c:pt idx="4">
                  <c:v>Nov-13</c:v>
                </c:pt>
                <c:pt idx="5">
                  <c:v>Dec-13</c:v>
                </c:pt>
                <c:pt idx="6">
                  <c:v>Feb-14</c:v>
                </c:pt>
                <c:pt idx="7">
                  <c:v>Jan-14</c:v>
                </c:pt>
                <c:pt idx="8">
                  <c:v>Jun-14</c:v>
                </c:pt>
                <c:pt idx="9">
                  <c:v>Apr-14</c:v>
                </c:pt>
                <c:pt idx="10">
                  <c:v>Mar-14</c:v>
                </c:pt>
                <c:pt idx="11">
                  <c:v>May-14</c:v>
                </c:pt>
              </c:strCache>
            </c:strRef>
          </c:cat>
          <c:val>
            <c:numRef>
              <c:f>'Scratch Paper_Expense'!$AD$59:$AD$71</c:f>
              <c:numCache>
                <c:formatCode>General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306.884524</c:v>
                </c:pt>
                <c:pt idx="7">
                  <c:v>288.160549</c:v>
                </c:pt>
                <c:pt idx="8">
                  <c:v>260.31229999999999</c:v>
                </c:pt>
                <c:pt idx="9">
                  <c:v>351.99016599999999</c:v>
                </c:pt>
                <c:pt idx="10">
                  <c:v>367.65100600000005</c:v>
                </c:pt>
                <c:pt idx="11">
                  <c:v>362.8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61C-4B5E-A772-1BE0999D7D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6068383"/>
        <c:axId val="566067551"/>
      </c:lineChart>
      <c:catAx>
        <c:axId val="4811198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1103631"/>
        <c:crosses val="autoZero"/>
        <c:auto val="1"/>
        <c:lblAlgn val="ctr"/>
        <c:lblOffset val="100"/>
        <c:noMultiLvlLbl val="0"/>
      </c:catAx>
      <c:valAx>
        <c:axId val="48110363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1119855"/>
        <c:crosses val="autoZero"/>
        <c:crossBetween val="between"/>
      </c:valAx>
      <c:valAx>
        <c:axId val="566067551"/>
        <c:scaling>
          <c:orientation val="minMax"/>
        </c:scaling>
        <c:delete val="0"/>
        <c:axPos val="r"/>
        <c:numFmt formatCode="&quot;$&quot;#,##0.0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6068383"/>
        <c:crosses val="max"/>
        <c:crossBetween val="between"/>
      </c:valAx>
      <c:catAx>
        <c:axId val="56606838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6606755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outhern Water Corp Financial Case Study_EBIT_Dongwoo Shin.xlsx]Scratch Paper_Expense!PivotTable108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Relationship</a:t>
            </a:r>
            <a:r>
              <a:rPr lang="en-US" baseline="0"/>
              <a:t> between Chemical Expenditure and Water Production</a:t>
            </a:r>
            <a:endParaRPr lang="en-US"/>
          </a:p>
        </c:rich>
      </c:tx>
      <c:layout>
        <c:manualLayout>
          <c:xMode val="edge"/>
          <c:yMode val="edge"/>
          <c:x val="0.12573254858417279"/>
          <c:y val="3.07057182660519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8.0406075838762248E-2"/>
          <c:y val="0.15750484460470479"/>
          <c:w val="0.62280555958062245"/>
          <c:h val="0.708607942698751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Scratch Paper_Expense'!$W$108:$W$109</c:f>
              <c:strCache>
                <c:ptCount val="1"/>
                <c:pt idx="0">
                  <c:v>Chemical Expenditur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Scratch Paper_Expense'!$V$110:$V$122</c:f>
              <c:strCache>
                <c:ptCount val="12"/>
                <c:pt idx="0">
                  <c:v>Apr-14</c:v>
                </c:pt>
                <c:pt idx="1">
                  <c:v>Aug-13</c:v>
                </c:pt>
                <c:pt idx="2">
                  <c:v>Dec-13</c:v>
                </c:pt>
                <c:pt idx="3">
                  <c:v>Feb-14</c:v>
                </c:pt>
                <c:pt idx="4">
                  <c:v>Jan-14</c:v>
                </c:pt>
                <c:pt idx="5">
                  <c:v>Jul-13</c:v>
                </c:pt>
                <c:pt idx="6">
                  <c:v>Jun-14</c:v>
                </c:pt>
                <c:pt idx="7">
                  <c:v>Mar-14</c:v>
                </c:pt>
                <c:pt idx="8">
                  <c:v>May-14</c:v>
                </c:pt>
                <c:pt idx="9">
                  <c:v>Nov-13</c:v>
                </c:pt>
                <c:pt idx="10">
                  <c:v>Oct-13</c:v>
                </c:pt>
                <c:pt idx="11">
                  <c:v>Sep-13</c:v>
                </c:pt>
              </c:strCache>
            </c:strRef>
          </c:cat>
          <c:val>
            <c:numRef>
              <c:f>'Scratch Paper_Expense'!$W$110:$W$122</c:f>
              <c:numCache>
                <c:formatCode>General</c:formatCode>
                <c:ptCount val="12"/>
                <c:pt idx="0">
                  <c:v>27287085.003526863</c:v>
                </c:pt>
                <c:pt idx="1">
                  <c:v>24947249.959452908</c:v>
                </c:pt>
                <c:pt idx="2">
                  <c:v>22328717.471234202</c:v>
                </c:pt>
                <c:pt idx="3">
                  <c:v>28369994.790195841</c:v>
                </c:pt>
                <c:pt idx="4">
                  <c:v>26435964.487404902</c:v>
                </c:pt>
                <c:pt idx="5">
                  <c:v>22966838.620812494</c:v>
                </c:pt>
                <c:pt idx="6">
                  <c:v>23319121.809010051</c:v>
                </c:pt>
                <c:pt idx="7">
                  <c:v>28114194.668248724</c:v>
                </c:pt>
                <c:pt idx="8">
                  <c:v>31724933.607775252</c:v>
                </c:pt>
                <c:pt idx="9">
                  <c:v>29964506.389362235</c:v>
                </c:pt>
                <c:pt idx="10">
                  <c:v>29462554.841881588</c:v>
                </c:pt>
                <c:pt idx="11">
                  <c:v>26345250.7631938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08-49BC-B976-B430F6CD88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81527327"/>
        <c:axId val="581526911"/>
      </c:barChart>
      <c:lineChart>
        <c:grouping val="standard"/>
        <c:varyColors val="0"/>
        <c:ser>
          <c:idx val="1"/>
          <c:order val="1"/>
          <c:tx>
            <c:strRef>
              <c:f>'Scratch Paper_Expense'!$X$108:$X$109</c:f>
              <c:strCache>
                <c:ptCount val="1"/>
                <c:pt idx="0">
                  <c:v>Water Production Actual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Scratch Paper_Expense'!$V$110:$V$122</c:f>
              <c:strCache>
                <c:ptCount val="12"/>
                <c:pt idx="0">
                  <c:v>Apr-14</c:v>
                </c:pt>
                <c:pt idx="1">
                  <c:v>Aug-13</c:v>
                </c:pt>
                <c:pt idx="2">
                  <c:v>Dec-13</c:v>
                </c:pt>
                <c:pt idx="3">
                  <c:v>Feb-14</c:v>
                </c:pt>
                <c:pt idx="4">
                  <c:v>Jan-14</c:v>
                </c:pt>
                <c:pt idx="5">
                  <c:v>Jul-13</c:v>
                </c:pt>
                <c:pt idx="6">
                  <c:v>Jun-14</c:v>
                </c:pt>
                <c:pt idx="7">
                  <c:v>Mar-14</c:v>
                </c:pt>
                <c:pt idx="8">
                  <c:v>May-14</c:v>
                </c:pt>
                <c:pt idx="9">
                  <c:v>Nov-13</c:v>
                </c:pt>
                <c:pt idx="10">
                  <c:v>Oct-13</c:v>
                </c:pt>
                <c:pt idx="11">
                  <c:v>Sep-13</c:v>
                </c:pt>
              </c:strCache>
            </c:strRef>
          </c:cat>
          <c:val>
            <c:numRef>
              <c:f>'Scratch Paper_Expense'!$X$110:$X$122</c:f>
              <c:numCache>
                <c:formatCode>General</c:formatCode>
                <c:ptCount val="12"/>
                <c:pt idx="0">
                  <c:v>759.48916600000007</c:v>
                </c:pt>
                <c:pt idx="1">
                  <c:v>622.38369699999998</c:v>
                </c:pt>
                <c:pt idx="2">
                  <c:v>571.87367899999992</c:v>
                </c:pt>
                <c:pt idx="3">
                  <c:v>682.90148799999997</c:v>
                </c:pt>
                <c:pt idx="4">
                  <c:v>679.26448500000004</c:v>
                </c:pt>
                <c:pt idx="5">
                  <c:v>647.14428099999998</c:v>
                </c:pt>
                <c:pt idx="6">
                  <c:v>623.20135099999993</c:v>
                </c:pt>
                <c:pt idx="7">
                  <c:v>790.03688200000011</c:v>
                </c:pt>
                <c:pt idx="8">
                  <c:v>773.51636800000006</c:v>
                </c:pt>
                <c:pt idx="9">
                  <c:v>534.23997600000007</c:v>
                </c:pt>
                <c:pt idx="10">
                  <c:v>602.67093499999999</c:v>
                </c:pt>
                <c:pt idx="11">
                  <c:v>602.545584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708-49BC-B976-B430F6CD88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0723279"/>
        <c:axId val="2120722031"/>
      </c:lineChart>
      <c:catAx>
        <c:axId val="581527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1526911"/>
        <c:crosses val="autoZero"/>
        <c:auto val="1"/>
        <c:lblAlgn val="ctr"/>
        <c:lblOffset val="100"/>
        <c:noMultiLvlLbl val="0"/>
      </c:catAx>
      <c:valAx>
        <c:axId val="5815269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1527327"/>
        <c:crosses val="autoZero"/>
        <c:crossBetween val="between"/>
      </c:valAx>
      <c:valAx>
        <c:axId val="2120722031"/>
        <c:scaling>
          <c:orientation val="minMax"/>
        </c:scaling>
        <c:delete val="0"/>
        <c:axPos val="r"/>
        <c:numFmt formatCode="_(&quot;$&quot;* #,##0.00_);_(&quot;$&quot;* \(#,##0.00\);_(&quot;$&quot;* &quot;-&quot;??_);_(@_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20723279"/>
        <c:crosses val="max"/>
        <c:crossBetween val="between"/>
      </c:valAx>
      <c:catAx>
        <c:axId val="212072327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2072203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0118676351666163"/>
          <c:y val="0.43106333522782281"/>
          <c:w val="0.19881323648333837"/>
          <c:h val="0.164110861258148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outhern Water Corp Financial Case Study_EBIT_Dongwoo Shin.xlsx]Scratch Paper_EBIT!PivotTable115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700" b="1" dirty="0"/>
              <a:t>Total</a:t>
            </a:r>
            <a:r>
              <a:rPr lang="en-US" sz="700" b="1" baseline="0" dirty="0"/>
              <a:t> EBIT per unit (on a YOY basis)</a:t>
            </a:r>
            <a:endParaRPr lang="en-US" sz="7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3"/>
        <c:spPr>
          <a:solidFill>
            <a:schemeClr val="accent2"/>
          </a:solidFill>
          <a:ln w="19050">
            <a:solidFill>
              <a:schemeClr val="lt1"/>
            </a:solidFill>
          </a:ln>
          <a:effectLst/>
        </c:spPr>
      </c:pivotFmt>
      <c:pivotFmt>
        <c:idx val="4"/>
        <c:spPr>
          <a:solidFill>
            <a:schemeClr val="accent3"/>
          </a:solidFill>
          <a:ln w="19050">
            <a:solidFill>
              <a:schemeClr val="lt1"/>
            </a:solidFill>
          </a:ln>
          <a:effectLst/>
        </c:spPr>
      </c:pivotFmt>
      <c:pivotFmt>
        <c:idx val="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numFmt formatCode="&quot;$&quot;#,##0.00;[Red]\!\-&quot;$&quot;#,##0.0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3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1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7"/>
        <c:spPr>
          <a:solidFill>
            <a:schemeClr val="accent2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0.18027223492668146"/>
              <c:y val="-4.8634173454452895E-2"/>
            </c:manualLayout>
          </c:layout>
          <c:numFmt formatCode="&quot;$&quot;#,##0.00;[Red]\!\-&quot;$&quot;#,##0.0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3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1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3"/>
          </a:solidFill>
          <a:ln w="19050">
            <a:solidFill>
              <a:schemeClr val="lt1"/>
            </a:solidFill>
          </a:ln>
          <a:effectLst/>
        </c:spPr>
      </c:pivotFmt>
      <c:pivotFmt>
        <c:idx val="9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numFmt formatCode="&quot;$&quot;#,##0.00;[Red]\!\-&quot;$&quot;#,##0.0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3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1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1"/>
        <c:spPr>
          <a:solidFill>
            <a:schemeClr val="accent2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0.18027223492668146"/>
              <c:y val="-4.8634173454452895E-2"/>
            </c:manualLayout>
          </c:layout>
          <c:numFmt formatCode="&quot;$&quot;#,##0.00;[Red]\!\-&quot;$&quot;#,##0.0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3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1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3"/>
          </a:solidFill>
          <a:ln w="19050">
            <a:solidFill>
              <a:schemeClr val="lt1"/>
            </a:solidFill>
          </a:ln>
          <a:effectLst/>
        </c:spPr>
      </c:pivotFmt>
      <c:pivotFmt>
        <c:idx val="1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numFmt formatCode="&quot;$&quot;#,##0.00;[Red]\!\-&quot;$&quot;#,##0.0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3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1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5"/>
        <c:spPr>
          <a:solidFill>
            <a:schemeClr val="accent2"/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0.18027223492668146"/>
              <c:y val="-4.8634173454452895E-2"/>
            </c:manualLayout>
          </c:layout>
          <c:numFmt formatCode="&quot;$&quot;#,##0.00;[Red]\!\-&quot;$&quot;#,##0.0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300" b="1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1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3"/>
          </a:solidFill>
          <a:ln w="19050">
            <a:solidFill>
              <a:schemeClr val="lt1"/>
            </a:solidFill>
          </a:ln>
          <a:effectLst/>
        </c:spPr>
      </c:pivotFmt>
    </c:pivotFmts>
    <c:plotArea>
      <c:layout/>
      <c:pieChart>
        <c:varyColors val="1"/>
        <c:ser>
          <c:idx val="0"/>
          <c:order val="0"/>
          <c:tx>
            <c:strRef>
              <c:f>'Scratch Paper_EBIT'!$AI$82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096-4B77-A87D-FF35677469B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096-4B77-A87D-FF35677469B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096-4B77-A87D-FF35677469BE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63D511FF-99B6-494E-A8A5-A2C5B250E513}" type="CATEGORYNAME">
                      <a:rPr lang="en-US" sz="600"/>
                      <a:pPr/>
                      <a:t>[CATEGORY NAME]</a:t>
                    </a:fld>
                    <a:r>
                      <a:rPr lang="en-US" sz="600" baseline="0" dirty="0"/>
                      <a:t>, </a:t>
                    </a:r>
                  </a:p>
                  <a:p>
                    <a:r>
                      <a:rPr lang="en-US" sz="600" baseline="0" dirty="0"/>
                      <a:t>72.94M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096-4B77-A87D-FF35677469BE}"/>
                </c:ext>
              </c:extLst>
            </c:dLbl>
            <c:dLbl>
              <c:idx val="1"/>
              <c:layout>
                <c:manualLayout>
                  <c:x val="0.12726889217401474"/>
                  <c:y val="-3.6150120029365532E-2"/>
                </c:manualLayout>
              </c:layout>
              <c:tx>
                <c:rich>
                  <a:bodyPr/>
                  <a:lstStyle/>
                  <a:p>
                    <a:fld id="{15A01C10-CF7D-4AFC-A103-49F33F4C37D5}" type="CATEGORYNAME">
                      <a:rPr lang="en-US" sz="600"/>
                      <a:pPr/>
                      <a:t>[CATEGORY NAME]</a:t>
                    </a:fld>
                    <a:r>
                      <a:rPr lang="en-US" sz="600" baseline="0" dirty="0"/>
                      <a:t>, </a:t>
                    </a:r>
                  </a:p>
                  <a:p>
                    <a:r>
                      <a:rPr lang="en-US" sz="600" baseline="0" dirty="0"/>
                      <a:t>19.72M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096-4B77-A87D-FF35677469B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9AC3DA4-9B44-4354-9237-7E436CA4C0EA}" type="CATEGORYNAME">
                      <a:rPr lang="en-US" sz="600"/>
                      <a:pPr/>
                      <a:t>[CATEGORY NAME]</a:t>
                    </a:fld>
                    <a:r>
                      <a:rPr lang="en-US" sz="600" baseline="0" dirty="0"/>
                      <a:t>, </a:t>
                    </a:r>
                  </a:p>
                  <a:p>
                    <a:r>
                      <a:rPr lang="en-US" sz="600" baseline="0" dirty="0"/>
                      <a:t>22.93M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096-4B77-A87D-FF35677469BE}"/>
                </c:ext>
              </c:extLst>
            </c:dLbl>
            <c:numFmt formatCode="&quot;$&quot;#,##0.00;[Red]\!\-&quot;$&quot;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Scratch Paper_EBIT'!$AH$83:$AH$86</c:f>
              <c:strCache>
                <c:ptCount val="3"/>
                <c:pt idx="0">
                  <c:v>Jutik</c:v>
                </c:pt>
                <c:pt idx="1">
                  <c:v>Kootha</c:v>
                </c:pt>
                <c:pt idx="2">
                  <c:v>Surjek</c:v>
                </c:pt>
              </c:strCache>
            </c:strRef>
          </c:cat>
          <c:val>
            <c:numRef>
              <c:f>'Scratch Paper_EBIT'!$AI$83:$AI$86</c:f>
              <c:numCache>
                <c:formatCode>General</c:formatCode>
                <c:ptCount val="3"/>
                <c:pt idx="0">
                  <c:v>72941736.097194374</c:v>
                </c:pt>
                <c:pt idx="1">
                  <c:v>19721133.205825485</c:v>
                </c:pt>
                <c:pt idx="2">
                  <c:v>22936250.129034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096-4B77-A87D-FF35677469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9883370032822858"/>
          <c:y val="0.44423437387471848"/>
          <c:w val="0.17616621108905947"/>
          <c:h val="0.3396934108705680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20/12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Segmentation of the revenues by unit, reveals that of the three (3) customer segments, </a:t>
            </a:r>
            <a:r>
              <a:rPr lang="en-GB" sz="1400" b="1" u="sng" dirty="0"/>
              <a:t>Private Water Hedge Sales</a:t>
            </a:r>
            <a:r>
              <a:rPr lang="en-GB" sz="1400" b="1" dirty="0"/>
              <a:t> are the most popular, followed by </a:t>
            </a:r>
            <a:r>
              <a:rPr lang="en-GB" sz="1400" b="1" u="sng" dirty="0"/>
              <a:t>Public Sales</a:t>
            </a:r>
            <a:r>
              <a:rPr lang="en-GB" sz="1400" b="1" dirty="0"/>
              <a:t> (</a:t>
            </a:r>
            <a:r>
              <a:rPr lang="en-GB" sz="1400" b="1" u="sng" dirty="0"/>
              <a:t>$187M</a:t>
            </a:r>
            <a:r>
              <a:rPr lang="en-GB" sz="1400" b="1" dirty="0"/>
              <a:t>) and lastly </a:t>
            </a:r>
            <a:r>
              <a:rPr lang="en-GB" sz="1400" b="1" u="sng" dirty="0"/>
              <a:t>Residential</a:t>
            </a:r>
            <a:r>
              <a:rPr lang="en-GB" sz="1400" b="1" dirty="0"/>
              <a:t> Sales (</a:t>
            </a:r>
            <a:r>
              <a:rPr lang="en-GB" sz="1400" b="1" u="sng" dirty="0"/>
              <a:t>$102M</a:t>
            </a:r>
            <a:r>
              <a:rPr lang="en-GB" sz="1400" b="1" dirty="0"/>
              <a:t>)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119966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FB46801-E4E7-3FB8-3B94-4AE96EB7C9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5346816"/>
              </p:ext>
            </p:extLst>
          </p:nvPr>
        </p:nvGraphicFramePr>
        <p:xfrm>
          <a:off x="217411" y="1366236"/>
          <a:ext cx="8393190" cy="3416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89987" cy="430887"/>
          </a:xfrm>
        </p:spPr>
        <p:txBody>
          <a:bodyPr/>
          <a:lstStyle/>
          <a:p>
            <a:r>
              <a:rPr lang="en-GB" sz="1400" b="1" dirty="0">
                <a:solidFill>
                  <a:schemeClr val="tx1"/>
                </a:solidFill>
              </a:rPr>
              <a:t>Targeted Expense Analysis reveals an interesting trend; Overall Costs sharply increase from December, with </a:t>
            </a:r>
            <a:r>
              <a:rPr lang="en-GB" sz="1400" b="1" u="sng" dirty="0">
                <a:solidFill>
                  <a:schemeClr val="tx1"/>
                </a:solidFill>
              </a:rPr>
              <a:t>Chemical Costs</a:t>
            </a:r>
            <a:r>
              <a:rPr lang="en-GB" sz="1400" b="1" dirty="0">
                <a:solidFill>
                  <a:schemeClr val="tx1"/>
                </a:solidFill>
              </a:rPr>
              <a:t>, contributing $ </a:t>
            </a:r>
            <a:r>
              <a:rPr lang="en-GB" sz="1400" b="1" u="sng" dirty="0">
                <a:solidFill>
                  <a:schemeClr val="tx1"/>
                </a:solidFill>
              </a:rPr>
              <a:t>78 M</a:t>
            </a:r>
            <a:r>
              <a:rPr lang="en-GB" sz="1400" b="1" dirty="0">
                <a:solidFill>
                  <a:schemeClr val="tx1"/>
                </a:solidFill>
              </a:rPr>
              <a:t> ( </a:t>
            </a:r>
            <a:r>
              <a:rPr lang="en-GB" sz="1400" b="1" u="sng" dirty="0">
                <a:solidFill>
                  <a:schemeClr val="tx1"/>
                </a:solidFill>
              </a:rPr>
              <a:t>24 </a:t>
            </a:r>
            <a:r>
              <a:rPr lang="en-GB" sz="1400" b="1" dirty="0">
                <a:solidFill>
                  <a:schemeClr val="tx1"/>
                </a:solidFill>
              </a:rPr>
              <a:t>%) towards the overall cost-base</a:t>
            </a:r>
            <a:endParaRPr lang="en-AU" sz="1400" b="1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F3D7ED1-908B-4E59-81D5-29720CDEE85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2452185"/>
              </p:ext>
            </p:extLst>
          </p:nvPr>
        </p:nvGraphicFramePr>
        <p:xfrm>
          <a:off x="231820" y="1082803"/>
          <a:ext cx="8569280" cy="2710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E55586D-8DC8-5152-ADC2-5845EA5705D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2784564"/>
              </p:ext>
            </p:extLst>
          </p:nvPr>
        </p:nvGraphicFramePr>
        <p:xfrm>
          <a:off x="231819" y="3878156"/>
          <a:ext cx="8569280" cy="25545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u="sng" dirty="0" err="1"/>
              <a:t>Surjek</a:t>
            </a:r>
            <a:r>
              <a:rPr lang="en-GB" sz="1400" b="1" dirty="0"/>
              <a:t> with </a:t>
            </a:r>
            <a:r>
              <a:rPr lang="en-GB" sz="1400" b="1" u="sng" dirty="0"/>
              <a:t>$ 88 M</a:t>
            </a:r>
            <a:r>
              <a:rPr lang="en-GB" sz="1400" b="1" dirty="0"/>
              <a:t> (</a:t>
            </a:r>
            <a:r>
              <a:rPr lang="en-GB" sz="1400" b="1" u="sng" dirty="0"/>
              <a:t>28</a:t>
            </a:r>
            <a:r>
              <a:rPr lang="en-GB" sz="1400" b="1" dirty="0"/>
              <a:t>%) worth of expenses, contrasted to a much lower spend from </a:t>
            </a:r>
            <a:r>
              <a:rPr lang="en-GB" sz="1400" b="1" u="sng" dirty="0" err="1"/>
              <a:t>Jutik</a:t>
            </a:r>
            <a:r>
              <a:rPr lang="en-GB" sz="1400" b="1" dirty="0"/>
              <a:t> ($ 51 M) and </a:t>
            </a:r>
            <a:r>
              <a:rPr lang="en-GB" sz="1400" b="1" u="sng" dirty="0" err="1"/>
              <a:t>Kootha</a:t>
            </a:r>
            <a:r>
              <a:rPr lang="en-GB" sz="1400" b="1" u="sng" dirty="0"/>
              <a:t> ($ 25 M)</a:t>
            </a:r>
            <a:r>
              <a:rPr lang="en-GB" sz="1400" b="1" dirty="0"/>
              <a:t>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0C56DED-9288-CAC8-D095-4E356B4215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69859321"/>
              </p:ext>
            </p:extLst>
          </p:nvPr>
        </p:nvGraphicFramePr>
        <p:xfrm>
          <a:off x="171451" y="841737"/>
          <a:ext cx="4224703" cy="2656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9A19853F-BF45-7CF5-A0EC-3133F9B138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664253"/>
              </p:ext>
            </p:extLst>
          </p:nvPr>
        </p:nvGraphicFramePr>
        <p:xfrm>
          <a:off x="171451" y="3498376"/>
          <a:ext cx="4224703" cy="29027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80216514-9E49-8165-10F2-5F247B349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42888574"/>
              </p:ext>
            </p:extLst>
          </p:nvPr>
        </p:nvGraphicFramePr>
        <p:xfrm>
          <a:off x="4396155" y="841737"/>
          <a:ext cx="4512896" cy="3094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4519848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E6EE1023-1A3A-4CE5-8344-07A29EB39A5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0486999"/>
              </p:ext>
            </p:extLst>
          </p:nvPr>
        </p:nvGraphicFramePr>
        <p:xfrm>
          <a:off x="171451" y="995396"/>
          <a:ext cx="8439149" cy="2643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2A6D7064-19DF-4F47-8987-FFE3F26B8E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1570763"/>
              </p:ext>
            </p:extLst>
          </p:nvPr>
        </p:nvGraphicFramePr>
        <p:xfrm>
          <a:off x="189682" y="3848100"/>
          <a:ext cx="8402685" cy="2468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E1D086D2-DF68-C7DF-41BF-9EA815B3EC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0" y="185738"/>
            <a:ext cx="8618538" cy="307975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u="sng" dirty="0" err="1"/>
              <a:t>Surjek</a:t>
            </a:r>
            <a:r>
              <a:rPr lang="en-GB" sz="1400" b="1" dirty="0"/>
              <a:t> Unit which coincidentally has the highest rate of water production. </a:t>
            </a:r>
            <a:endParaRPr lang="en-AU" sz="1400" b="1" dirty="0"/>
          </a:p>
        </p:txBody>
      </p:sp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</a:t>
            </a:r>
            <a:r>
              <a:rPr lang="en-AU" sz="1350" b="1" u="sng" dirty="0" err="1"/>
              <a:t>Jutik</a:t>
            </a:r>
            <a:r>
              <a:rPr lang="en-AU" sz="1350" b="1" u="sng" dirty="0"/>
              <a:t> </a:t>
            </a:r>
            <a:r>
              <a:rPr lang="en-AU" sz="1350" b="1" dirty="0"/>
              <a:t>has the highest overall EBIT contributions ($72.94M), followed by </a:t>
            </a:r>
            <a:r>
              <a:rPr lang="en-AU" sz="1350" b="1" dirty="0" err="1"/>
              <a:t>Surjek</a:t>
            </a:r>
            <a:r>
              <a:rPr lang="en-AU" sz="1350" b="1" dirty="0"/>
              <a:t> ($22.93M) , and lastly </a:t>
            </a:r>
            <a:r>
              <a:rPr lang="en-AU" sz="1350" b="1" dirty="0" err="1"/>
              <a:t>Kootha</a:t>
            </a:r>
            <a:r>
              <a:rPr lang="en-AU" sz="1350" b="1" dirty="0"/>
              <a:t> ($19.72M). However, from an EBIT  Margin (%) perspective, Kootha has a higher margin than that of </a:t>
            </a:r>
            <a:r>
              <a:rPr lang="en-AU" sz="1350" b="1" u="sng" dirty="0" err="1"/>
              <a:t>Surjek</a:t>
            </a:r>
            <a:r>
              <a:rPr lang="en-AU" sz="1350" b="1" dirty="0"/>
              <a:t>, indicative of a lower revenue-to-expense ratio.¹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003E329-20A1-41C5-A1B6-190E05E1129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0279171"/>
              </p:ext>
            </p:extLst>
          </p:nvPr>
        </p:nvGraphicFramePr>
        <p:xfrm>
          <a:off x="1187451" y="1044936"/>
          <a:ext cx="2895599" cy="15158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7D4CE17-9B65-486A-B82E-AF2C6B9E301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4214645"/>
              </p:ext>
            </p:extLst>
          </p:nvPr>
        </p:nvGraphicFramePr>
        <p:xfrm>
          <a:off x="4480719" y="1044936"/>
          <a:ext cx="3247231" cy="15158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593BCFB-B99F-45AC-B1F6-446A2142169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64813072"/>
              </p:ext>
            </p:extLst>
          </p:nvPr>
        </p:nvGraphicFramePr>
        <p:xfrm>
          <a:off x="171451" y="2692673"/>
          <a:ext cx="4197349" cy="3224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5B0ED662-D36E-4C0F-A3F7-EAF6A52B493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1628518"/>
              </p:ext>
            </p:extLst>
          </p:nvPr>
        </p:nvGraphicFramePr>
        <p:xfrm>
          <a:off x="4480719" y="2692673"/>
          <a:ext cx="4279900" cy="3224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472543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34</TotalTime>
  <Words>437</Words>
  <Application>Microsoft Office PowerPoint</Application>
  <PresentationFormat>Custom</PresentationFormat>
  <Paragraphs>79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1_Synergy_CF_YNR013</vt:lpstr>
      <vt:lpstr>think-cell Slide</vt:lpstr>
      <vt:lpstr>Segmentation of the revenues by unit, reveals that of the three (3) customer segments, Private Water Hedge Sales are the most popular, followed by Public Sales ($187M) and lastly Residential Sales ($102M). </vt:lpstr>
      <vt:lpstr>Targeted Expense Analysis reveals an interesting trend; Overall Costs sharply increase from December, with Chemical Costs, contributing $ 78 M ( 24 %) towards the overall cost-base</vt:lpstr>
      <vt:lpstr>Further analysis singles-out Surjek with $ 88 M (28%) worth of expenses, contrasted to a much lower spend from Jutik ($ 51 M) and Kootha ($ 25 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$72.94M), followed by Surjek ($22.93M) , and lastly Kootha ($19.72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동우 신</cp:lastModifiedBy>
  <cp:revision>74</cp:revision>
  <dcterms:created xsi:type="dcterms:W3CDTF">2020-04-12T13:23:13Z</dcterms:created>
  <dcterms:modified xsi:type="dcterms:W3CDTF">2022-12-20T22:49:31Z</dcterms:modified>
</cp:coreProperties>
</file>